
<file path=[Content_Types].xml><?xml version="1.0" encoding="utf-8"?>
<Types xmlns="http://schemas.openxmlformats.org/package/2006/content-types">
  <Default Extension="(null)" ContentType="image/x-emf"/>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5.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6.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7.xml" ContentType="application/vnd.openxmlformats-officedocument.them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8.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9.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0" r:id="rId2"/>
    <p:sldMasterId id="2147483706" r:id="rId3"/>
    <p:sldMasterId id="2147483724" r:id="rId4"/>
    <p:sldMasterId id="2147483986" r:id="rId5"/>
    <p:sldMasterId id="2147484000" r:id="rId6"/>
    <p:sldMasterId id="2147484044" r:id="rId7"/>
    <p:sldMasterId id="2147484086" r:id="rId8"/>
  </p:sldMasterIdLst>
  <p:notesMasterIdLst>
    <p:notesMasterId r:id="rId18"/>
  </p:notesMasterIdLst>
  <p:sldIdLst>
    <p:sldId id="1718" r:id="rId9"/>
    <p:sldId id="4767" r:id="rId10"/>
    <p:sldId id="4768" r:id="rId11"/>
    <p:sldId id="4778" r:id="rId12"/>
    <p:sldId id="4788" r:id="rId13"/>
    <p:sldId id="2141411299" r:id="rId14"/>
    <p:sldId id="2141411300" r:id="rId15"/>
    <p:sldId id="10791" r:id="rId16"/>
    <p:sldId id="4447"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93D8CA4-BE60-4096-8845-228E1FAF26E3}" v="5" dt="2021-05-25T12:09:38.79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34557" autoAdjust="0"/>
    <p:restoredTop sz="86385" autoAdjust="0"/>
  </p:normalViewPr>
  <p:slideViewPr>
    <p:cSldViewPr snapToGrid="0">
      <p:cViewPr varScale="1">
        <p:scale>
          <a:sx n="96" d="100"/>
          <a:sy n="96" d="100"/>
        </p:scale>
        <p:origin x="-282" y="96"/>
      </p:cViewPr>
      <p:guideLst/>
    </p:cSldViewPr>
  </p:slideViewPr>
  <p:outlineViewPr>
    <p:cViewPr>
      <p:scale>
        <a:sx n="33" d="100"/>
        <a:sy n="33" d="100"/>
      </p:scale>
      <p:origin x="0" y="-5226"/>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microsoft.com/office/2015/10/relationships/revisionInfo" Target="revisionInfo.xml"/><Relationship Id="rId5" Type="http://schemas.openxmlformats.org/officeDocument/2006/relationships/slideMaster" Target="slideMasters/slideMaster5.xml"/><Relationship Id="rId15" Type="http://schemas.openxmlformats.org/officeDocument/2006/relationships/slide" Target="slides/slide7.xml"/><Relationship Id="rId23" Type="http://schemas.microsoft.com/office/2016/11/relationships/changesInfo" Target="changesInfos/changesInfo1.xml"/><Relationship Id="rId10" Type="http://schemas.openxmlformats.org/officeDocument/2006/relationships/slide" Target="slides/slide2.xml"/><Relationship Id="rId19"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 userId="85409873-b96b-4669-be5a-63f793ebbda5" providerId="ADAL" clId="{DD0721CB-F30D-4D7D-A5D0-7D34136A938D}"/>
    <pc:docChg chg="addSld delSld modSld">
      <pc:chgData name="Michael" userId="85409873-b96b-4669-be5a-63f793ebbda5" providerId="ADAL" clId="{DD0721CB-F30D-4D7D-A5D0-7D34136A938D}" dt="2020-05-05T11:46:17.115" v="58"/>
      <pc:docMkLst>
        <pc:docMk/>
      </pc:docMkLst>
      <pc:sldChg chg="add del modTransition setBg">
        <pc:chgData name="Michael" userId="85409873-b96b-4669-be5a-63f793ebbda5" providerId="ADAL" clId="{DD0721CB-F30D-4D7D-A5D0-7D34136A938D}" dt="2020-05-05T11:44:06.843" v="5"/>
        <pc:sldMkLst>
          <pc:docMk/>
          <pc:sldMk cId="3907839512" sldId="1717"/>
        </pc:sldMkLst>
      </pc:sldChg>
      <pc:sldChg chg="modSp add del mod setBg">
        <pc:chgData name="Michael" userId="85409873-b96b-4669-be5a-63f793ebbda5" providerId="ADAL" clId="{DD0721CB-F30D-4D7D-A5D0-7D34136A938D}" dt="2020-05-05T11:45:28.186" v="54" actId="14100"/>
        <pc:sldMkLst>
          <pc:docMk/>
          <pc:sldMk cId="1310105821" sldId="1718"/>
        </pc:sldMkLst>
        <pc:spChg chg="mod">
          <ac:chgData name="Michael" userId="85409873-b96b-4669-be5a-63f793ebbda5" providerId="ADAL" clId="{DD0721CB-F30D-4D7D-A5D0-7D34136A938D}" dt="2020-05-05T11:45:28.186" v="54" actId="14100"/>
          <ac:spMkLst>
            <pc:docMk/>
            <pc:sldMk cId="1310105821" sldId="1718"/>
            <ac:spMk id="2" creationId="{00000000-0000-0000-0000-000000000000}"/>
          </ac:spMkLst>
        </pc:spChg>
      </pc:sldChg>
      <pc:sldChg chg="addSp delSp add del setBg delDesignElem">
        <pc:chgData name="Michael" userId="85409873-b96b-4669-be5a-63f793ebbda5" providerId="ADAL" clId="{DD0721CB-F30D-4D7D-A5D0-7D34136A938D}" dt="2020-05-05T11:46:17.115" v="58"/>
        <pc:sldMkLst>
          <pc:docMk/>
          <pc:sldMk cId="1786828944" sldId="4447"/>
        </pc:sldMkLst>
        <pc:spChg chg="add del">
          <ac:chgData name="Michael" userId="85409873-b96b-4669-be5a-63f793ebbda5" providerId="ADAL" clId="{DD0721CB-F30D-4D7D-A5D0-7D34136A938D}" dt="2020-05-05T11:46:17.088" v="57"/>
          <ac:spMkLst>
            <pc:docMk/>
            <pc:sldMk cId="1786828944" sldId="4447"/>
            <ac:spMk id="73" creationId="{BCC55ACC-A2F6-403C-A3A4-D59B3734D45F}"/>
          </ac:spMkLst>
        </pc:spChg>
      </pc:sldChg>
    </pc:docChg>
  </pc:docChgLst>
  <pc:docChgLst>
    <pc:chgData name="Michael Vermeersch" userId="85409873-b96b-4669-be5a-63f793ebbda5" providerId="ADAL" clId="{CF3B5F6C-8117-4EF7-9021-7DD02A55CF5B}"/>
    <pc:docChg chg="undo custSel addSld delSld modSld sldOrd delMainMaster">
      <pc:chgData name="Michael Vermeersch" userId="85409873-b96b-4669-be5a-63f793ebbda5" providerId="ADAL" clId="{CF3B5F6C-8117-4EF7-9021-7DD02A55CF5B}" dt="2021-04-26T09:39:44.850" v="154" actId="20577"/>
      <pc:docMkLst>
        <pc:docMk/>
      </pc:docMkLst>
      <pc:sldChg chg="del">
        <pc:chgData name="Michael Vermeersch" userId="85409873-b96b-4669-be5a-63f793ebbda5" providerId="ADAL" clId="{CF3B5F6C-8117-4EF7-9021-7DD02A55CF5B}" dt="2021-04-19T12:54:25.353" v="2" actId="47"/>
        <pc:sldMkLst>
          <pc:docMk/>
          <pc:sldMk cId="0" sldId="257"/>
        </pc:sldMkLst>
      </pc:sldChg>
      <pc:sldChg chg="del">
        <pc:chgData name="Michael Vermeersch" userId="85409873-b96b-4669-be5a-63f793ebbda5" providerId="ADAL" clId="{CF3B5F6C-8117-4EF7-9021-7DD02A55CF5B}" dt="2021-04-19T13:17:34.140" v="66" actId="47"/>
        <pc:sldMkLst>
          <pc:docMk/>
          <pc:sldMk cId="3549290014" sldId="258"/>
        </pc:sldMkLst>
      </pc:sldChg>
      <pc:sldChg chg="modNotesTx">
        <pc:chgData name="Michael Vermeersch" userId="85409873-b96b-4669-be5a-63f793ebbda5" providerId="ADAL" clId="{CF3B5F6C-8117-4EF7-9021-7DD02A55CF5B}" dt="2021-04-19T13:52:58.876" v="90"/>
        <pc:sldMkLst>
          <pc:docMk/>
          <pc:sldMk cId="4240220607" sldId="259"/>
        </pc:sldMkLst>
      </pc:sldChg>
      <pc:sldChg chg="modNotesTx">
        <pc:chgData name="Michael Vermeersch" userId="85409873-b96b-4669-be5a-63f793ebbda5" providerId="ADAL" clId="{CF3B5F6C-8117-4EF7-9021-7DD02A55CF5B}" dt="2021-04-19T13:53:11.746" v="91"/>
        <pc:sldMkLst>
          <pc:docMk/>
          <pc:sldMk cId="114747738" sldId="261"/>
        </pc:sldMkLst>
      </pc:sldChg>
      <pc:sldChg chg="add del ord">
        <pc:chgData name="Michael Vermeersch" userId="85409873-b96b-4669-be5a-63f793ebbda5" providerId="ADAL" clId="{CF3B5F6C-8117-4EF7-9021-7DD02A55CF5B}" dt="2021-04-19T17:09:26" v="126"/>
        <pc:sldMkLst>
          <pc:docMk/>
          <pc:sldMk cId="3552316574" sldId="268"/>
        </pc:sldMkLst>
      </pc:sldChg>
      <pc:sldChg chg="del ord">
        <pc:chgData name="Michael Vermeersch" userId="85409873-b96b-4669-be5a-63f793ebbda5" providerId="ADAL" clId="{CF3B5F6C-8117-4EF7-9021-7DD02A55CF5B}" dt="2021-04-19T13:38:47.983" v="82" actId="47"/>
        <pc:sldMkLst>
          <pc:docMk/>
          <pc:sldMk cId="2475992504" sldId="289"/>
        </pc:sldMkLst>
      </pc:sldChg>
      <pc:sldChg chg="modNotesTx">
        <pc:chgData name="Michael Vermeersch" userId="85409873-b96b-4669-be5a-63f793ebbda5" providerId="ADAL" clId="{CF3B5F6C-8117-4EF7-9021-7DD02A55CF5B}" dt="2021-04-19T13:52:25.919" v="88"/>
        <pc:sldMkLst>
          <pc:docMk/>
          <pc:sldMk cId="1717520380" sldId="335"/>
        </pc:sldMkLst>
      </pc:sldChg>
      <pc:sldChg chg="modNotesTx">
        <pc:chgData name="Michael Vermeersch" userId="85409873-b96b-4669-be5a-63f793ebbda5" providerId="ADAL" clId="{CF3B5F6C-8117-4EF7-9021-7DD02A55CF5B}" dt="2021-04-19T13:52:44.194" v="89"/>
        <pc:sldMkLst>
          <pc:docMk/>
          <pc:sldMk cId="4118482820" sldId="354"/>
        </pc:sldMkLst>
      </pc:sldChg>
      <pc:sldChg chg="add del modNotesTx">
        <pc:chgData name="Michael Vermeersch" userId="85409873-b96b-4669-be5a-63f793ebbda5" providerId="ADAL" clId="{CF3B5F6C-8117-4EF7-9021-7DD02A55CF5B}" dt="2021-04-19T13:54:10.385" v="95"/>
        <pc:sldMkLst>
          <pc:docMk/>
          <pc:sldMk cId="4156828315" sldId="355"/>
        </pc:sldMkLst>
      </pc:sldChg>
      <pc:sldChg chg="modSp mod modShow">
        <pc:chgData name="Michael Vermeersch" userId="85409873-b96b-4669-be5a-63f793ebbda5" providerId="ADAL" clId="{CF3B5F6C-8117-4EF7-9021-7DD02A55CF5B}" dt="2021-04-26T09:39:44.850" v="154" actId="20577"/>
        <pc:sldMkLst>
          <pc:docMk/>
          <pc:sldMk cId="1310105821" sldId="1718"/>
        </pc:sldMkLst>
        <pc:spChg chg="mod">
          <ac:chgData name="Michael Vermeersch" userId="85409873-b96b-4669-be5a-63f793ebbda5" providerId="ADAL" clId="{CF3B5F6C-8117-4EF7-9021-7DD02A55CF5B}" dt="2021-04-26T09:39:44.850" v="154" actId="20577"/>
          <ac:spMkLst>
            <pc:docMk/>
            <pc:sldMk cId="1310105821" sldId="1718"/>
            <ac:spMk id="2" creationId="{00000000-0000-0000-0000-000000000000}"/>
          </ac:spMkLst>
        </pc:spChg>
      </pc:sldChg>
      <pc:sldChg chg="add del ord">
        <pc:chgData name="Michael Vermeersch" userId="85409873-b96b-4669-be5a-63f793ebbda5" providerId="ADAL" clId="{CF3B5F6C-8117-4EF7-9021-7DD02A55CF5B}" dt="2021-04-19T17:09:23.568" v="124"/>
        <pc:sldMkLst>
          <pc:docMk/>
          <pc:sldMk cId="3955281702" sldId="4333"/>
        </pc:sldMkLst>
      </pc:sldChg>
      <pc:sldChg chg="add modNotesTx">
        <pc:chgData name="Michael Vermeersch" userId="85409873-b96b-4669-be5a-63f793ebbda5" providerId="ADAL" clId="{CF3B5F6C-8117-4EF7-9021-7DD02A55CF5B}" dt="2021-04-19T13:53:50.753" v="94"/>
        <pc:sldMkLst>
          <pc:docMk/>
          <pc:sldMk cId="2687814757" sldId="4408"/>
        </pc:sldMkLst>
      </pc:sldChg>
      <pc:sldChg chg="add del">
        <pc:chgData name="Michael Vermeersch" userId="85409873-b96b-4669-be5a-63f793ebbda5" providerId="ADAL" clId="{CF3B5F6C-8117-4EF7-9021-7DD02A55CF5B}" dt="2021-04-19T13:17:31.075" v="64" actId="22"/>
        <pc:sldMkLst>
          <pc:docMk/>
          <pc:sldMk cId="3549290014" sldId="4408"/>
        </pc:sldMkLst>
      </pc:sldChg>
      <pc:sldChg chg="mod modShow">
        <pc:chgData name="Michael Vermeersch" userId="85409873-b96b-4669-be5a-63f793ebbda5" providerId="ADAL" clId="{CF3B5F6C-8117-4EF7-9021-7DD02A55CF5B}" dt="2021-04-19T12:54:29.959" v="3" actId="729"/>
        <pc:sldMkLst>
          <pc:docMk/>
          <pc:sldMk cId="1786828944" sldId="4447"/>
        </pc:sldMkLst>
      </pc:sldChg>
      <pc:sldChg chg="modNotesTx">
        <pc:chgData name="Michael Vermeersch" userId="85409873-b96b-4669-be5a-63f793ebbda5" providerId="ADAL" clId="{CF3B5F6C-8117-4EF7-9021-7DD02A55CF5B}" dt="2021-04-19T16:53:02.350" v="112"/>
        <pc:sldMkLst>
          <pc:docMk/>
          <pc:sldMk cId="1363255158" sldId="4448"/>
        </pc:sldMkLst>
      </pc:sldChg>
      <pc:sldChg chg="modNotesTx">
        <pc:chgData name="Michael Vermeersch" userId="85409873-b96b-4669-be5a-63f793ebbda5" providerId="ADAL" clId="{CF3B5F6C-8117-4EF7-9021-7DD02A55CF5B}" dt="2021-04-19T16:57:56.396" v="119"/>
        <pc:sldMkLst>
          <pc:docMk/>
          <pc:sldMk cId="1020492903" sldId="4449"/>
        </pc:sldMkLst>
      </pc:sldChg>
      <pc:sldChg chg="modNotesTx">
        <pc:chgData name="Michael Vermeersch" userId="85409873-b96b-4669-be5a-63f793ebbda5" providerId="ADAL" clId="{CF3B5F6C-8117-4EF7-9021-7DD02A55CF5B}" dt="2021-04-19T13:54:23.197" v="96"/>
        <pc:sldMkLst>
          <pc:docMk/>
          <pc:sldMk cId="3758389058" sldId="4452"/>
        </pc:sldMkLst>
      </pc:sldChg>
      <pc:sldChg chg="modNotesTx">
        <pc:chgData name="Michael Vermeersch" userId="85409873-b96b-4669-be5a-63f793ebbda5" providerId="ADAL" clId="{CF3B5F6C-8117-4EF7-9021-7DD02A55CF5B}" dt="2021-04-19T16:54:00.722" v="113"/>
        <pc:sldMkLst>
          <pc:docMk/>
          <pc:sldMk cId="1967389866" sldId="4453"/>
        </pc:sldMkLst>
      </pc:sldChg>
      <pc:sldChg chg="modNotesTx">
        <pc:chgData name="Michael Vermeersch" userId="85409873-b96b-4669-be5a-63f793ebbda5" providerId="ADAL" clId="{CF3B5F6C-8117-4EF7-9021-7DD02A55CF5B}" dt="2021-04-19T13:53:19.539" v="92"/>
        <pc:sldMkLst>
          <pc:docMk/>
          <pc:sldMk cId="3705038280" sldId="4457"/>
        </pc:sldMkLst>
      </pc:sldChg>
      <pc:sldChg chg="modNotesTx">
        <pc:chgData name="Michael Vermeersch" userId="85409873-b96b-4669-be5a-63f793ebbda5" providerId="ADAL" clId="{CF3B5F6C-8117-4EF7-9021-7DD02A55CF5B}" dt="2021-04-19T16:55:17.183" v="114"/>
        <pc:sldMkLst>
          <pc:docMk/>
          <pc:sldMk cId="3872942270" sldId="4458"/>
        </pc:sldMkLst>
      </pc:sldChg>
      <pc:sldChg chg="del">
        <pc:chgData name="Michael Vermeersch" userId="85409873-b96b-4669-be5a-63f793ebbda5" providerId="ADAL" clId="{CF3B5F6C-8117-4EF7-9021-7DD02A55CF5B}" dt="2021-04-19T13:12:30.982" v="52" actId="47"/>
        <pc:sldMkLst>
          <pc:docMk/>
          <pc:sldMk cId="2148948919" sldId="4459"/>
        </pc:sldMkLst>
      </pc:sldChg>
      <pc:sldChg chg="del">
        <pc:chgData name="Michael Vermeersch" userId="85409873-b96b-4669-be5a-63f793ebbda5" providerId="ADAL" clId="{CF3B5F6C-8117-4EF7-9021-7DD02A55CF5B}" dt="2021-04-19T12:54:14.403" v="0" actId="47"/>
        <pc:sldMkLst>
          <pc:docMk/>
          <pc:sldMk cId="0" sldId="4460"/>
        </pc:sldMkLst>
      </pc:sldChg>
      <pc:sldChg chg="del">
        <pc:chgData name="Michael Vermeersch" userId="85409873-b96b-4669-be5a-63f793ebbda5" providerId="ADAL" clId="{CF3B5F6C-8117-4EF7-9021-7DD02A55CF5B}" dt="2021-04-19T12:55:29.974" v="31" actId="47"/>
        <pc:sldMkLst>
          <pc:docMk/>
          <pc:sldMk cId="3380254755" sldId="4461"/>
        </pc:sldMkLst>
      </pc:sldChg>
      <pc:sldChg chg="add del">
        <pc:chgData name="Michael Vermeersch" userId="85409873-b96b-4669-be5a-63f793ebbda5" providerId="ADAL" clId="{CF3B5F6C-8117-4EF7-9021-7DD02A55CF5B}" dt="2021-04-19T17:14:09.424" v="129"/>
        <pc:sldMkLst>
          <pc:docMk/>
          <pc:sldMk cId="2769001270" sldId="4767"/>
        </pc:sldMkLst>
      </pc:sldChg>
      <pc:sldChg chg="add del">
        <pc:chgData name="Michael Vermeersch" userId="85409873-b96b-4669-be5a-63f793ebbda5" providerId="ADAL" clId="{CF3B5F6C-8117-4EF7-9021-7DD02A55CF5B}" dt="2021-04-19T17:14:09.424" v="129"/>
        <pc:sldMkLst>
          <pc:docMk/>
          <pc:sldMk cId="4170164154" sldId="4768"/>
        </pc:sldMkLst>
      </pc:sldChg>
      <pc:sldChg chg="add del">
        <pc:chgData name="Michael Vermeersch" userId="85409873-b96b-4669-be5a-63f793ebbda5" providerId="ADAL" clId="{CF3B5F6C-8117-4EF7-9021-7DD02A55CF5B}" dt="2021-04-19T17:14:09.424" v="129"/>
        <pc:sldMkLst>
          <pc:docMk/>
          <pc:sldMk cId="1844654292" sldId="4769"/>
        </pc:sldMkLst>
      </pc:sldChg>
      <pc:sldChg chg="del mod modShow">
        <pc:chgData name="Michael Vermeersch" userId="85409873-b96b-4669-be5a-63f793ebbda5" providerId="ADAL" clId="{CF3B5F6C-8117-4EF7-9021-7DD02A55CF5B}" dt="2021-04-19T13:38:47.983" v="82" actId="47"/>
        <pc:sldMkLst>
          <pc:docMk/>
          <pc:sldMk cId="259600639" sldId="10433"/>
        </pc:sldMkLst>
      </pc:sldChg>
      <pc:sldChg chg="modSp del mod modShow">
        <pc:chgData name="Michael Vermeersch" userId="85409873-b96b-4669-be5a-63f793ebbda5" providerId="ADAL" clId="{CF3B5F6C-8117-4EF7-9021-7DD02A55CF5B}" dt="2021-04-19T13:38:47.983" v="82" actId="47"/>
        <pc:sldMkLst>
          <pc:docMk/>
          <pc:sldMk cId="620689474" sldId="10445"/>
        </pc:sldMkLst>
        <pc:spChg chg="mod">
          <ac:chgData name="Michael Vermeersch" userId="85409873-b96b-4669-be5a-63f793ebbda5" providerId="ADAL" clId="{CF3B5F6C-8117-4EF7-9021-7DD02A55CF5B}" dt="2021-04-19T12:55:45.838" v="39" actId="6549"/>
          <ac:spMkLst>
            <pc:docMk/>
            <pc:sldMk cId="620689474" sldId="10445"/>
            <ac:spMk id="2" creationId="{DF1E8150-2832-456B-A34D-F32149E3B3CE}"/>
          </ac:spMkLst>
        </pc:spChg>
      </pc:sldChg>
      <pc:sldChg chg="addSp delSp modSp del mod modShow">
        <pc:chgData name="Michael Vermeersch" userId="85409873-b96b-4669-be5a-63f793ebbda5" providerId="ADAL" clId="{CF3B5F6C-8117-4EF7-9021-7DD02A55CF5B}" dt="2021-04-19T13:38:47.983" v="82" actId="47"/>
        <pc:sldMkLst>
          <pc:docMk/>
          <pc:sldMk cId="1431020212" sldId="10447"/>
        </pc:sldMkLst>
        <pc:spChg chg="mod">
          <ac:chgData name="Michael Vermeersch" userId="85409873-b96b-4669-be5a-63f793ebbda5" providerId="ADAL" clId="{CF3B5F6C-8117-4EF7-9021-7DD02A55CF5B}" dt="2021-04-19T13:11:30.628" v="49" actId="26606"/>
          <ac:spMkLst>
            <pc:docMk/>
            <pc:sldMk cId="1431020212" sldId="10447"/>
            <ac:spMk id="4" creationId="{A014855A-4FFC-43D0-A9EB-D912E2F48C78}"/>
          </ac:spMkLst>
        </pc:spChg>
        <pc:spChg chg="add mod">
          <ac:chgData name="Michael Vermeersch" userId="85409873-b96b-4669-be5a-63f793ebbda5" providerId="ADAL" clId="{CF3B5F6C-8117-4EF7-9021-7DD02A55CF5B}" dt="2021-04-19T13:13:14.565" v="53" actId="26606"/>
          <ac:spMkLst>
            <pc:docMk/>
            <pc:sldMk cId="1431020212" sldId="10447"/>
            <ac:spMk id="17" creationId="{AA6B6B11-0C2C-4628-9A0C-90DA36398485}"/>
          </ac:spMkLst>
        </pc:spChg>
        <pc:spChg chg="add del">
          <ac:chgData name="Michael Vermeersch" userId="85409873-b96b-4669-be5a-63f793ebbda5" providerId="ADAL" clId="{CF3B5F6C-8117-4EF7-9021-7DD02A55CF5B}" dt="2021-04-19T13:13:14.565" v="53" actId="26606"/>
          <ac:spMkLst>
            <pc:docMk/>
            <pc:sldMk cId="1431020212" sldId="10447"/>
            <ac:spMk id="22" creationId="{4038CB10-1F5C-4D54-9DF7-12586DE5B007}"/>
          </ac:spMkLst>
        </pc:spChg>
        <pc:spChg chg="add del">
          <ac:chgData name="Michael Vermeersch" userId="85409873-b96b-4669-be5a-63f793ebbda5" providerId="ADAL" clId="{CF3B5F6C-8117-4EF7-9021-7DD02A55CF5B}" dt="2021-04-19T13:13:14.565" v="53" actId="26606"/>
          <ac:spMkLst>
            <pc:docMk/>
            <pc:sldMk cId="1431020212" sldId="10447"/>
            <ac:spMk id="24" creationId="{73ED6512-6858-4552-B699-9A97FE9A4EA2}"/>
          </ac:spMkLst>
        </pc:spChg>
        <pc:spChg chg="add">
          <ac:chgData name="Michael Vermeersch" userId="85409873-b96b-4669-be5a-63f793ebbda5" providerId="ADAL" clId="{CF3B5F6C-8117-4EF7-9021-7DD02A55CF5B}" dt="2021-04-19T13:13:14.565" v="53" actId="26606"/>
          <ac:spMkLst>
            <pc:docMk/>
            <pc:sldMk cId="1431020212" sldId="10447"/>
            <ac:spMk id="29" creationId="{4038CB10-1F5C-4D54-9DF7-12586DE5B007}"/>
          </ac:spMkLst>
        </pc:spChg>
        <pc:spChg chg="add">
          <ac:chgData name="Michael Vermeersch" userId="85409873-b96b-4669-be5a-63f793ebbda5" providerId="ADAL" clId="{CF3B5F6C-8117-4EF7-9021-7DD02A55CF5B}" dt="2021-04-19T13:13:14.565" v="53" actId="26606"/>
          <ac:spMkLst>
            <pc:docMk/>
            <pc:sldMk cId="1431020212" sldId="10447"/>
            <ac:spMk id="31" creationId="{73ED6512-6858-4552-B699-9A97FE9A4EA2}"/>
          </ac:spMkLst>
        </pc:spChg>
        <pc:grpChg chg="del">
          <ac:chgData name="Michael Vermeersch" userId="85409873-b96b-4669-be5a-63f793ebbda5" providerId="ADAL" clId="{CF3B5F6C-8117-4EF7-9021-7DD02A55CF5B}" dt="2021-04-19T13:11:30.628" v="49" actId="26606"/>
          <ac:grpSpMkLst>
            <pc:docMk/>
            <pc:sldMk cId="1431020212" sldId="10447"/>
            <ac:grpSpMk id="8" creationId="{63737881-458F-40AD-B72B-B57D267DC423}"/>
          </ac:grpSpMkLst>
        </pc:grpChg>
        <pc:picChg chg="mod ord">
          <ac:chgData name="Michael Vermeersch" userId="85409873-b96b-4669-be5a-63f793ebbda5" providerId="ADAL" clId="{CF3B5F6C-8117-4EF7-9021-7DD02A55CF5B}" dt="2021-04-19T13:13:14.565" v="53" actId="26606"/>
          <ac:picMkLst>
            <pc:docMk/>
            <pc:sldMk cId="1431020212" sldId="10447"/>
            <ac:picMk id="3" creationId="{19B69546-4DFA-4D7B-9D43-0961E38613EE}"/>
          </ac:picMkLst>
        </pc:picChg>
      </pc:sldChg>
      <pc:sldChg chg="add del modNotesTx">
        <pc:chgData name="Michael Vermeersch" userId="85409873-b96b-4669-be5a-63f793ebbda5" providerId="ADAL" clId="{CF3B5F6C-8117-4EF7-9021-7DD02A55CF5B}" dt="2021-04-19T13:53:34.131" v="93"/>
        <pc:sldMkLst>
          <pc:docMk/>
          <pc:sldMk cId="2163055141" sldId="10776"/>
        </pc:sldMkLst>
      </pc:sldChg>
      <pc:sldChg chg="modSp add del mod modNotesTx">
        <pc:chgData name="Michael Vermeersch" userId="85409873-b96b-4669-be5a-63f793ebbda5" providerId="ADAL" clId="{CF3B5F6C-8117-4EF7-9021-7DD02A55CF5B}" dt="2021-04-19T13:57:03.402" v="102" actId="20577"/>
        <pc:sldMkLst>
          <pc:docMk/>
          <pc:sldMk cId="2519917104" sldId="2134806069"/>
        </pc:sldMkLst>
        <pc:spChg chg="mod">
          <ac:chgData name="Michael Vermeersch" userId="85409873-b96b-4669-be5a-63f793ebbda5" providerId="ADAL" clId="{CF3B5F6C-8117-4EF7-9021-7DD02A55CF5B}" dt="2021-04-19T13:40:36.408" v="85" actId="22"/>
          <ac:spMkLst>
            <pc:docMk/>
            <pc:sldMk cId="2519917104" sldId="2134806069"/>
            <ac:spMk id="38" creationId="{38261E8A-BBEC-4982-AC23-4476A38715D0}"/>
          </ac:spMkLst>
        </pc:spChg>
      </pc:sldChg>
      <pc:sldChg chg="del mod modShow">
        <pc:chgData name="Michael Vermeersch" userId="85409873-b96b-4669-be5a-63f793ebbda5" providerId="ADAL" clId="{CF3B5F6C-8117-4EF7-9021-7DD02A55CF5B}" dt="2021-04-19T13:38:47.983" v="82" actId="47"/>
        <pc:sldMkLst>
          <pc:docMk/>
          <pc:sldMk cId="2998334276" sldId="2141411279"/>
        </pc:sldMkLst>
      </pc:sldChg>
      <pc:sldChg chg="add del">
        <pc:chgData name="Michael Vermeersch" userId="85409873-b96b-4669-be5a-63f793ebbda5" providerId="ADAL" clId="{CF3B5F6C-8117-4EF7-9021-7DD02A55CF5B}" dt="2021-04-19T13:10:10.587" v="45" actId="22"/>
        <pc:sldMkLst>
          <pc:docMk/>
          <pc:sldMk cId="2029627688" sldId="2141411280"/>
        </pc:sldMkLst>
      </pc:sldChg>
      <pc:sldChg chg="add modNotesTx">
        <pc:chgData name="Michael Vermeersch" userId="85409873-b96b-4669-be5a-63f793ebbda5" providerId="ADAL" clId="{CF3B5F6C-8117-4EF7-9021-7DD02A55CF5B}" dt="2021-04-19T13:52:06.667" v="87"/>
        <pc:sldMkLst>
          <pc:docMk/>
          <pc:sldMk cId="4003777325" sldId="2141411280"/>
        </pc:sldMkLst>
      </pc:sldChg>
      <pc:sldChg chg="modSp add mod modNotesTx">
        <pc:chgData name="Michael Vermeersch" userId="85409873-b96b-4669-be5a-63f793ebbda5" providerId="ADAL" clId="{CF3B5F6C-8117-4EF7-9021-7DD02A55CF5B}" dt="2021-04-19T14:07:03.515" v="103"/>
        <pc:sldMkLst>
          <pc:docMk/>
          <pc:sldMk cId="167108301" sldId="2141411281"/>
        </pc:sldMkLst>
        <pc:spChg chg="mod">
          <ac:chgData name="Michael Vermeersch" userId="85409873-b96b-4669-be5a-63f793ebbda5" providerId="ADAL" clId="{CF3B5F6C-8117-4EF7-9021-7DD02A55CF5B}" dt="2021-04-19T13:37:58.639" v="81" actId="20577"/>
          <ac:spMkLst>
            <pc:docMk/>
            <pc:sldMk cId="167108301" sldId="2141411281"/>
            <ac:spMk id="4" creationId="{A014855A-4FFC-43D0-A9EB-D912E2F48C78}"/>
          </ac:spMkLst>
        </pc:spChg>
      </pc:sldChg>
      <pc:sldChg chg="modSp add del mod">
        <pc:chgData name="Michael Vermeersch" userId="85409873-b96b-4669-be5a-63f793ebbda5" providerId="ADAL" clId="{CF3B5F6C-8117-4EF7-9021-7DD02A55CF5B}" dt="2021-04-19T13:37:38.315" v="74" actId="22"/>
        <pc:sldMkLst>
          <pc:docMk/>
          <pc:sldMk cId="1118964297" sldId="2141411281"/>
        </pc:sldMkLst>
        <pc:spChg chg="mod">
          <ac:chgData name="Michael Vermeersch" userId="85409873-b96b-4669-be5a-63f793ebbda5" providerId="ADAL" clId="{CF3B5F6C-8117-4EF7-9021-7DD02A55CF5B}" dt="2021-04-19T13:37:38.315" v="74" actId="22"/>
          <ac:spMkLst>
            <pc:docMk/>
            <pc:sldMk cId="1118964297" sldId="2141411281"/>
            <ac:spMk id="4" creationId="{A014855A-4FFC-43D0-A9EB-D912E2F48C78}"/>
          </ac:spMkLst>
        </pc:spChg>
      </pc:sldChg>
      <pc:sldChg chg="add del modNotesTx">
        <pc:chgData name="Michael Vermeersch" userId="85409873-b96b-4669-be5a-63f793ebbda5" providerId="ADAL" clId="{CF3B5F6C-8117-4EF7-9021-7DD02A55CF5B}" dt="2021-04-19T16:56:15.421" v="118" actId="6549"/>
        <pc:sldMkLst>
          <pc:docMk/>
          <pc:sldMk cId="232221672" sldId="2141411282"/>
        </pc:sldMkLst>
      </pc:sldChg>
      <pc:sldChg chg="add del">
        <pc:chgData name="Michael Vermeersch" userId="85409873-b96b-4669-be5a-63f793ebbda5" providerId="ADAL" clId="{CF3B5F6C-8117-4EF7-9021-7DD02A55CF5B}" dt="2021-04-19T13:37:38.315" v="74" actId="22"/>
        <pc:sldMkLst>
          <pc:docMk/>
          <pc:sldMk cId="102324444" sldId="2141411283"/>
        </pc:sldMkLst>
      </pc:sldChg>
      <pc:sldChg chg="add modNotesTx">
        <pc:chgData name="Michael Vermeersch" userId="85409873-b96b-4669-be5a-63f793ebbda5" providerId="ADAL" clId="{CF3B5F6C-8117-4EF7-9021-7DD02A55CF5B}" dt="2021-04-19T14:07:30.020" v="107"/>
        <pc:sldMkLst>
          <pc:docMk/>
          <pc:sldMk cId="883298471" sldId="2141411283"/>
        </pc:sldMkLst>
      </pc:sldChg>
      <pc:sldChg chg="add del modNotesTx">
        <pc:chgData name="Michael Vermeersch" userId="85409873-b96b-4669-be5a-63f793ebbda5" providerId="ADAL" clId="{CF3B5F6C-8117-4EF7-9021-7DD02A55CF5B}" dt="2021-04-19T14:07:44.416" v="108"/>
        <pc:sldMkLst>
          <pc:docMk/>
          <pc:sldMk cId="19614899" sldId="2141411284"/>
        </pc:sldMkLst>
      </pc:sldChg>
      <pc:sldChg chg="modSp add del mod">
        <pc:chgData name="Michael Vermeersch" userId="85409873-b96b-4669-be5a-63f793ebbda5" providerId="ADAL" clId="{CF3B5F6C-8117-4EF7-9021-7DD02A55CF5B}" dt="2021-04-19T13:37:38.315" v="74" actId="22"/>
        <pc:sldMkLst>
          <pc:docMk/>
          <pc:sldMk cId="3256057808" sldId="2141411285"/>
        </pc:sldMkLst>
        <pc:spChg chg="mod">
          <ac:chgData name="Michael Vermeersch" userId="85409873-b96b-4669-be5a-63f793ebbda5" providerId="ADAL" clId="{CF3B5F6C-8117-4EF7-9021-7DD02A55CF5B}" dt="2021-04-19T13:37:38.315" v="74" actId="22"/>
          <ac:spMkLst>
            <pc:docMk/>
            <pc:sldMk cId="3256057808" sldId="2141411285"/>
            <ac:spMk id="2" creationId="{EE6562D4-B3C9-4712-93AD-2A478A7C35B0}"/>
          </ac:spMkLst>
        </pc:spChg>
      </pc:sldChg>
      <pc:sldChg chg="add modNotesTx">
        <pc:chgData name="Michael Vermeersch" userId="85409873-b96b-4669-be5a-63f793ebbda5" providerId="ADAL" clId="{CF3B5F6C-8117-4EF7-9021-7DD02A55CF5B}" dt="2021-04-19T14:07:52.946" v="109"/>
        <pc:sldMkLst>
          <pc:docMk/>
          <pc:sldMk cId="3964450879" sldId="2141411285"/>
        </pc:sldMkLst>
      </pc:sldChg>
      <pc:sldChg chg="modSp add del mod modNotesTx">
        <pc:chgData name="Michael Vermeersch" userId="85409873-b96b-4669-be5a-63f793ebbda5" providerId="ADAL" clId="{CF3B5F6C-8117-4EF7-9021-7DD02A55CF5B}" dt="2021-04-19T14:08:02.871" v="110"/>
        <pc:sldMkLst>
          <pc:docMk/>
          <pc:sldMk cId="3352926438" sldId="2141411286"/>
        </pc:sldMkLst>
        <pc:spChg chg="mod">
          <ac:chgData name="Michael Vermeersch" userId="85409873-b96b-4669-be5a-63f793ebbda5" providerId="ADAL" clId="{CF3B5F6C-8117-4EF7-9021-7DD02A55CF5B}" dt="2021-04-19T13:37:38.315" v="74" actId="22"/>
          <ac:spMkLst>
            <pc:docMk/>
            <pc:sldMk cId="3352926438" sldId="2141411286"/>
            <ac:spMk id="2" creationId="{B8390F5E-DF38-459A-80D4-AB667C59EE0B}"/>
          </ac:spMkLst>
        </pc:spChg>
      </pc:sldChg>
      <pc:sldChg chg="add del">
        <pc:chgData name="Michael Vermeersch" userId="85409873-b96b-4669-be5a-63f793ebbda5" providerId="ADAL" clId="{CF3B5F6C-8117-4EF7-9021-7DD02A55CF5B}" dt="2021-04-19T13:37:38.315" v="74" actId="22"/>
        <pc:sldMkLst>
          <pc:docMk/>
          <pc:sldMk cId="354122553" sldId="2141411287"/>
        </pc:sldMkLst>
      </pc:sldChg>
      <pc:sldChg chg="add modNotesTx">
        <pc:chgData name="Michael Vermeersch" userId="85409873-b96b-4669-be5a-63f793ebbda5" providerId="ADAL" clId="{CF3B5F6C-8117-4EF7-9021-7DD02A55CF5B}" dt="2021-04-19T14:08:10.914" v="111"/>
        <pc:sldMkLst>
          <pc:docMk/>
          <pc:sldMk cId="2806126825" sldId="2141411287"/>
        </pc:sldMkLst>
      </pc:sldChg>
      <pc:sldMasterChg chg="addSldLayout delSldLayout modSldLayout">
        <pc:chgData name="Michael Vermeersch" userId="85409873-b96b-4669-be5a-63f793ebbda5" providerId="ADAL" clId="{CF3B5F6C-8117-4EF7-9021-7DD02A55CF5B}" dt="2021-04-19T17:09:09.566" v="121" actId="22"/>
        <pc:sldMasterMkLst>
          <pc:docMk/>
          <pc:sldMasterMk cId="521531289" sldId="2147483660"/>
        </pc:sldMasterMkLst>
        <pc:sldLayoutChg chg="del">
          <pc:chgData name="Michael Vermeersch" userId="85409873-b96b-4669-be5a-63f793ebbda5" providerId="ADAL" clId="{CF3B5F6C-8117-4EF7-9021-7DD02A55CF5B}" dt="2021-04-19T12:54:14.403" v="0" actId="47"/>
          <pc:sldLayoutMkLst>
            <pc:docMk/>
            <pc:sldMasterMk cId="521531289" sldId="2147483660"/>
            <pc:sldLayoutMk cId="1896960751" sldId="2147483757"/>
          </pc:sldLayoutMkLst>
        </pc:sldLayoutChg>
        <pc:sldLayoutChg chg="add del mod replId">
          <pc:chgData name="Michael Vermeersch" userId="85409873-b96b-4669-be5a-63f793ebbda5" providerId="ADAL" clId="{CF3B5F6C-8117-4EF7-9021-7DD02A55CF5B}" dt="2021-04-19T17:09:09.566" v="121" actId="22"/>
          <pc:sldLayoutMkLst>
            <pc:docMk/>
            <pc:sldMasterMk cId="521531289" sldId="2147483660"/>
            <pc:sldLayoutMk cId="2888849939" sldId="2147484044"/>
          </pc:sldLayoutMkLst>
        </pc:sldLayoutChg>
        <pc:sldLayoutChg chg="add del mod replId">
          <pc:chgData name="Michael Vermeersch" userId="85409873-b96b-4669-be5a-63f793ebbda5" providerId="ADAL" clId="{CF3B5F6C-8117-4EF7-9021-7DD02A55CF5B}" dt="2021-04-19T17:09:09.566" v="121" actId="22"/>
          <pc:sldLayoutMkLst>
            <pc:docMk/>
            <pc:sldMasterMk cId="521531289" sldId="2147483660"/>
            <pc:sldLayoutMk cId="234004106" sldId="2147484045"/>
          </pc:sldLayoutMkLst>
        </pc:sldLayoutChg>
      </pc:sldMasterChg>
      <pc:sldMasterChg chg="addSldLayout delSldLayout modSldLayout">
        <pc:chgData name="Michael Vermeersch" userId="85409873-b96b-4669-be5a-63f793ebbda5" providerId="ADAL" clId="{CF3B5F6C-8117-4EF7-9021-7DD02A55CF5B}" dt="2021-04-19T13:37:38.315" v="74" actId="22"/>
        <pc:sldMasterMkLst>
          <pc:docMk/>
          <pc:sldMasterMk cId="812732925" sldId="2147483706"/>
        </pc:sldMasterMkLst>
        <pc:sldLayoutChg chg="add del mod replId">
          <pc:chgData name="Michael Vermeersch" userId="85409873-b96b-4669-be5a-63f793ebbda5" providerId="ADAL" clId="{CF3B5F6C-8117-4EF7-9021-7DD02A55CF5B}" dt="2021-04-19T13:37:38.315" v="74" actId="22"/>
          <pc:sldLayoutMkLst>
            <pc:docMk/>
            <pc:sldMasterMk cId="812732925" sldId="2147483706"/>
            <pc:sldLayoutMk cId="822049847" sldId="2147484000"/>
          </pc:sldLayoutMkLst>
        </pc:sldLayoutChg>
        <pc:sldLayoutChg chg="add del mod replId">
          <pc:chgData name="Michael Vermeersch" userId="85409873-b96b-4669-be5a-63f793ebbda5" providerId="ADAL" clId="{CF3B5F6C-8117-4EF7-9021-7DD02A55CF5B}" dt="2021-04-19T13:37:38.315" v="74" actId="22"/>
          <pc:sldLayoutMkLst>
            <pc:docMk/>
            <pc:sldMasterMk cId="812732925" sldId="2147483706"/>
            <pc:sldLayoutMk cId="3094438068" sldId="2147484001"/>
          </pc:sldLayoutMkLst>
        </pc:sldLayoutChg>
        <pc:sldLayoutChg chg="add del mod replId">
          <pc:chgData name="Michael Vermeersch" userId="85409873-b96b-4669-be5a-63f793ebbda5" providerId="ADAL" clId="{CF3B5F6C-8117-4EF7-9021-7DD02A55CF5B}" dt="2021-04-19T13:37:38.315" v="74" actId="22"/>
          <pc:sldLayoutMkLst>
            <pc:docMk/>
            <pc:sldMasterMk cId="812732925" sldId="2147483706"/>
            <pc:sldLayoutMk cId="1204421848" sldId="2147484002"/>
          </pc:sldLayoutMkLst>
        </pc:sldLayoutChg>
        <pc:sldLayoutChg chg="add del mod replId">
          <pc:chgData name="Michael Vermeersch" userId="85409873-b96b-4669-be5a-63f793ebbda5" providerId="ADAL" clId="{CF3B5F6C-8117-4EF7-9021-7DD02A55CF5B}" dt="2021-04-19T13:37:38.315" v="74" actId="22"/>
          <pc:sldLayoutMkLst>
            <pc:docMk/>
            <pc:sldMasterMk cId="812732925" sldId="2147483706"/>
            <pc:sldLayoutMk cId="1733734336" sldId="2147484003"/>
          </pc:sldLayoutMkLst>
        </pc:sldLayoutChg>
        <pc:sldLayoutChg chg="add del mod replId">
          <pc:chgData name="Michael Vermeersch" userId="85409873-b96b-4669-be5a-63f793ebbda5" providerId="ADAL" clId="{CF3B5F6C-8117-4EF7-9021-7DD02A55CF5B}" dt="2021-04-19T13:37:38.315" v="74" actId="22"/>
          <pc:sldLayoutMkLst>
            <pc:docMk/>
            <pc:sldMasterMk cId="812732925" sldId="2147483706"/>
            <pc:sldLayoutMk cId="4136973801" sldId="2147484004"/>
          </pc:sldLayoutMkLst>
        </pc:sldLayoutChg>
      </pc:sldMasterChg>
      <pc:sldMasterChg chg="del delSldLayout">
        <pc:chgData name="Michael Vermeersch" userId="85409873-b96b-4669-be5a-63f793ebbda5" providerId="ADAL" clId="{CF3B5F6C-8117-4EF7-9021-7DD02A55CF5B}" dt="2021-04-19T13:38:47.983" v="82" actId="47"/>
        <pc:sldMasterMkLst>
          <pc:docMk/>
          <pc:sldMasterMk cId="721311615" sldId="2147483766"/>
        </pc:sldMasterMkLst>
        <pc:sldLayoutChg chg="del">
          <pc:chgData name="Michael Vermeersch" userId="85409873-b96b-4669-be5a-63f793ebbda5" providerId="ADAL" clId="{CF3B5F6C-8117-4EF7-9021-7DD02A55CF5B}" dt="2021-04-19T13:38:47.983" v="82" actId="47"/>
          <pc:sldLayoutMkLst>
            <pc:docMk/>
            <pc:sldMasterMk cId="721311615" sldId="2147483766"/>
            <pc:sldLayoutMk cId="1964645505" sldId="2147483767"/>
          </pc:sldLayoutMkLst>
        </pc:sldLayoutChg>
        <pc:sldLayoutChg chg="del">
          <pc:chgData name="Michael Vermeersch" userId="85409873-b96b-4669-be5a-63f793ebbda5" providerId="ADAL" clId="{CF3B5F6C-8117-4EF7-9021-7DD02A55CF5B}" dt="2021-04-19T13:38:47.983" v="82" actId="47"/>
          <pc:sldLayoutMkLst>
            <pc:docMk/>
            <pc:sldMasterMk cId="721311615" sldId="2147483766"/>
            <pc:sldLayoutMk cId="2616664050" sldId="2147483768"/>
          </pc:sldLayoutMkLst>
        </pc:sldLayoutChg>
        <pc:sldLayoutChg chg="del">
          <pc:chgData name="Michael Vermeersch" userId="85409873-b96b-4669-be5a-63f793ebbda5" providerId="ADAL" clId="{CF3B5F6C-8117-4EF7-9021-7DD02A55CF5B}" dt="2021-04-19T13:38:47.983" v="82" actId="47"/>
          <pc:sldLayoutMkLst>
            <pc:docMk/>
            <pc:sldMasterMk cId="721311615" sldId="2147483766"/>
            <pc:sldLayoutMk cId="4285945897" sldId="2147483769"/>
          </pc:sldLayoutMkLst>
        </pc:sldLayoutChg>
        <pc:sldLayoutChg chg="del">
          <pc:chgData name="Michael Vermeersch" userId="85409873-b96b-4669-be5a-63f793ebbda5" providerId="ADAL" clId="{CF3B5F6C-8117-4EF7-9021-7DD02A55CF5B}" dt="2021-04-19T13:38:47.983" v="82" actId="47"/>
          <pc:sldLayoutMkLst>
            <pc:docMk/>
            <pc:sldMasterMk cId="721311615" sldId="2147483766"/>
            <pc:sldLayoutMk cId="906497064" sldId="2147483770"/>
          </pc:sldLayoutMkLst>
        </pc:sldLayoutChg>
        <pc:sldLayoutChg chg="del">
          <pc:chgData name="Michael Vermeersch" userId="85409873-b96b-4669-be5a-63f793ebbda5" providerId="ADAL" clId="{CF3B5F6C-8117-4EF7-9021-7DD02A55CF5B}" dt="2021-04-19T13:38:47.983" v="82" actId="47"/>
          <pc:sldLayoutMkLst>
            <pc:docMk/>
            <pc:sldMasterMk cId="721311615" sldId="2147483766"/>
            <pc:sldLayoutMk cId="1536712270" sldId="2147483771"/>
          </pc:sldLayoutMkLst>
        </pc:sldLayoutChg>
        <pc:sldLayoutChg chg="del">
          <pc:chgData name="Michael Vermeersch" userId="85409873-b96b-4669-be5a-63f793ebbda5" providerId="ADAL" clId="{CF3B5F6C-8117-4EF7-9021-7DD02A55CF5B}" dt="2021-04-19T13:38:47.983" v="82" actId="47"/>
          <pc:sldLayoutMkLst>
            <pc:docMk/>
            <pc:sldMasterMk cId="721311615" sldId="2147483766"/>
            <pc:sldLayoutMk cId="2134055786" sldId="2147483772"/>
          </pc:sldLayoutMkLst>
        </pc:sldLayoutChg>
        <pc:sldLayoutChg chg="del">
          <pc:chgData name="Michael Vermeersch" userId="85409873-b96b-4669-be5a-63f793ebbda5" providerId="ADAL" clId="{CF3B5F6C-8117-4EF7-9021-7DD02A55CF5B}" dt="2021-04-19T13:38:47.983" v="82" actId="47"/>
          <pc:sldLayoutMkLst>
            <pc:docMk/>
            <pc:sldMasterMk cId="721311615" sldId="2147483766"/>
            <pc:sldLayoutMk cId="2241706034" sldId="2147483773"/>
          </pc:sldLayoutMkLst>
        </pc:sldLayoutChg>
        <pc:sldLayoutChg chg="del">
          <pc:chgData name="Michael Vermeersch" userId="85409873-b96b-4669-be5a-63f793ebbda5" providerId="ADAL" clId="{CF3B5F6C-8117-4EF7-9021-7DD02A55CF5B}" dt="2021-04-19T13:38:47.983" v="82" actId="47"/>
          <pc:sldLayoutMkLst>
            <pc:docMk/>
            <pc:sldMasterMk cId="721311615" sldId="2147483766"/>
            <pc:sldLayoutMk cId="271169717" sldId="2147483774"/>
          </pc:sldLayoutMkLst>
        </pc:sldLayoutChg>
        <pc:sldLayoutChg chg="del">
          <pc:chgData name="Michael Vermeersch" userId="85409873-b96b-4669-be5a-63f793ebbda5" providerId="ADAL" clId="{CF3B5F6C-8117-4EF7-9021-7DD02A55CF5B}" dt="2021-04-19T13:38:47.983" v="82" actId="47"/>
          <pc:sldLayoutMkLst>
            <pc:docMk/>
            <pc:sldMasterMk cId="721311615" sldId="2147483766"/>
            <pc:sldLayoutMk cId="2757321538" sldId="2147483775"/>
          </pc:sldLayoutMkLst>
        </pc:sldLayoutChg>
        <pc:sldLayoutChg chg="del">
          <pc:chgData name="Michael Vermeersch" userId="85409873-b96b-4669-be5a-63f793ebbda5" providerId="ADAL" clId="{CF3B5F6C-8117-4EF7-9021-7DD02A55CF5B}" dt="2021-04-19T13:38:47.983" v="82" actId="47"/>
          <pc:sldLayoutMkLst>
            <pc:docMk/>
            <pc:sldMasterMk cId="721311615" sldId="2147483766"/>
            <pc:sldLayoutMk cId="1442816928" sldId="2147483776"/>
          </pc:sldLayoutMkLst>
        </pc:sldLayoutChg>
        <pc:sldLayoutChg chg="del">
          <pc:chgData name="Michael Vermeersch" userId="85409873-b96b-4669-be5a-63f793ebbda5" providerId="ADAL" clId="{CF3B5F6C-8117-4EF7-9021-7DD02A55CF5B}" dt="2021-04-19T13:38:47.983" v="82" actId="47"/>
          <pc:sldLayoutMkLst>
            <pc:docMk/>
            <pc:sldMasterMk cId="721311615" sldId="2147483766"/>
            <pc:sldLayoutMk cId="2405118503" sldId="2147483777"/>
          </pc:sldLayoutMkLst>
        </pc:sldLayoutChg>
        <pc:sldLayoutChg chg="del">
          <pc:chgData name="Michael Vermeersch" userId="85409873-b96b-4669-be5a-63f793ebbda5" providerId="ADAL" clId="{CF3B5F6C-8117-4EF7-9021-7DD02A55CF5B}" dt="2021-04-19T13:38:47.983" v="82" actId="47"/>
          <pc:sldLayoutMkLst>
            <pc:docMk/>
            <pc:sldMasterMk cId="721311615" sldId="2147483766"/>
            <pc:sldLayoutMk cId="135153183" sldId="2147483778"/>
          </pc:sldLayoutMkLst>
        </pc:sldLayoutChg>
      </pc:sldMasterChg>
      <pc:sldMasterChg chg="del delSldLayout">
        <pc:chgData name="Michael Vermeersch" userId="85409873-b96b-4669-be5a-63f793ebbda5" providerId="ADAL" clId="{CF3B5F6C-8117-4EF7-9021-7DD02A55CF5B}" dt="2021-04-19T13:38:47.983" v="82" actId="47"/>
        <pc:sldMasterMkLst>
          <pc:docMk/>
          <pc:sldMasterMk cId="3004800810" sldId="2147483973"/>
        </pc:sldMasterMkLst>
        <pc:sldLayoutChg chg="del">
          <pc:chgData name="Michael Vermeersch" userId="85409873-b96b-4669-be5a-63f793ebbda5" providerId="ADAL" clId="{CF3B5F6C-8117-4EF7-9021-7DD02A55CF5B}" dt="2021-04-19T13:38:47.983" v="82" actId="47"/>
          <pc:sldLayoutMkLst>
            <pc:docMk/>
            <pc:sldMasterMk cId="3004800810" sldId="2147483973"/>
            <pc:sldLayoutMk cId="2301429104" sldId="2147483717"/>
          </pc:sldLayoutMkLst>
        </pc:sldLayoutChg>
        <pc:sldLayoutChg chg="del">
          <pc:chgData name="Michael Vermeersch" userId="85409873-b96b-4669-be5a-63f793ebbda5" providerId="ADAL" clId="{CF3B5F6C-8117-4EF7-9021-7DD02A55CF5B}" dt="2021-04-19T13:38:47.983" v="82" actId="47"/>
          <pc:sldLayoutMkLst>
            <pc:docMk/>
            <pc:sldMasterMk cId="3004800810" sldId="2147483973"/>
            <pc:sldLayoutMk cId="3880573114" sldId="2147483974"/>
          </pc:sldLayoutMkLst>
        </pc:sldLayoutChg>
        <pc:sldLayoutChg chg="del">
          <pc:chgData name="Michael Vermeersch" userId="85409873-b96b-4669-be5a-63f793ebbda5" providerId="ADAL" clId="{CF3B5F6C-8117-4EF7-9021-7DD02A55CF5B}" dt="2021-04-19T13:38:47.983" v="82" actId="47"/>
          <pc:sldLayoutMkLst>
            <pc:docMk/>
            <pc:sldMasterMk cId="3004800810" sldId="2147483973"/>
            <pc:sldLayoutMk cId="3206690743" sldId="2147483975"/>
          </pc:sldLayoutMkLst>
        </pc:sldLayoutChg>
        <pc:sldLayoutChg chg="del">
          <pc:chgData name="Michael Vermeersch" userId="85409873-b96b-4669-be5a-63f793ebbda5" providerId="ADAL" clId="{CF3B5F6C-8117-4EF7-9021-7DD02A55CF5B}" dt="2021-04-19T13:38:47.983" v="82" actId="47"/>
          <pc:sldLayoutMkLst>
            <pc:docMk/>
            <pc:sldMasterMk cId="3004800810" sldId="2147483973"/>
            <pc:sldLayoutMk cId="4275426820" sldId="2147483976"/>
          </pc:sldLayoutMkLst>
        </pc:sldLayoutChg>
        <pc:sldLayoutChg chg="del">
          <pc:chgData name="Michael Vermeersch" userId="85409873-b96b-4669-be5a-63f793ebbda5" providerId="ADAL" clId="{CF3B5F6C-8117-4EF7-9021-7DD02A55CF5B}" dt="2021-04-19T13:38:47.983" v="82" actId="47"/>
          <pc:sldLayoutMkLst>
            <pc:docMk/>
            <pc:sldMasterMk cId="3004800810" sldId="2147483973"/>
            <pc:sldLayoutMk cId="1451521642" sldId="2147483977"/>
          </pc:sldLayoutMkLst>
        </pc:sldLayoutChg>
        <pc:sldLayoutChg chg="del">
          <pc:chgData name="Michael Vermeersch" userId="85409873-b96b-4669-be5a-63f793ebbda5" providerId="ADAL" clId="{CF3B5F6C-8117-4EF7-9021-7DD02A55CF5B}" dt="2021-04-19T13:38:47.983" v="82" actId="47"/>
          <pc:sldLayoutMkLst>
            <pc:docMk/>
            <pc:sldMasterMk cId="3004800810" sldId="2147483973"/>
            <pc:sldLayoutMk cId="101367163" sldId="2147483978"/>
          </pc:sldLayoutMkLst>
        </pc:sldLayoutChg>
        <pc:sldLayoutChg chg="del">
          <pc:chgData name="Michael Vermeersch" userId="85409873-b96b-4669-be5a-63f793ebbda5" providerId="ADAL" clId="{CF3B5F6C-8117-4EF7-9021-7DD02A55CF5B}" dt="2021-04-19T13:38:47.983" v="82" actId="47"/>
          <pc:sldLayoutMkLst>
            <pc:docMk/>
            <pc:sldMasterMk cId="3004800810" sldId="2147483973"/>
            <pc:sldLayoutMk cId="636652209" sldId="2147483979"/>
          </pc:sldLayoutMkLst>
        </pc:sldLayoutChg>
        <pc:sldLayoutChg chg="del">
          <pc:chgData name="Michael Vermeersch" userId="85409873-b96b-4669-be5a-63f793ebbda5" providerId="ADAL" clId="{CF3B5F6C-8117-4EF7-9021-7DD02A55CF5B}" dt="2021-04-19T13:38:47.983" v="82" actId="47"/>
          <pc:sldLayoutMkLst>
            <pc:docMk/>
            <pc:sldMasterMk cId="3004800810" sldId="2147483973"/>
            <pc:sldLayoutMk cId="3696990494" sldId="2147483980"/>
          </pc:sldLayoutMkLst>
        </pc:sldLayoutChg>
        <pc:sldLayoutChg chg="del">
          <pc:chgData name="Michael Vermeersch" userId="85409873-b96b-4669-be5a-63f793ebbda5" providerId="ADAL" clId="{CF3B5F6C-8117-4EF7-9021-7DD02A55CF5B}" dt="2021-04-19T13:38:47.983" v="82" actId="47"/>
          <pc:sldLayoutMkLst>
            <pc:docMk/>
            <pc:sldMasterMk cId="3004800810" sldId="2147483973"/>
            <pc:sldLayoutMk cId="2283822610" sldId="2147483981"/>
          </pc:sldLayoutMkLst>
        </pc:sldLayoutChg>
        <pc:sldLayoutChg chg="del">
          <pc:chgData name="Michael Vermeersch" userId="85409873-b96b-4669-be5a-63f793ebbda5" providerId="ADAL" clId="{CF3B5F6C-8117-4EF7-9021-7DD02A55CF5B}" dt="2021-04-19T13:38:47.983" v="82" actId="47"/>
          <pc:sldLayoutMkLst>
            <pc:docMk/>
            <pc:sldMasterMk cId="3004800810" sldId="2147483973"/>
            <pc:sldLayoutMk cId="1887911472" sldId="2147483982"/>
          </pc:sldLayoutMkLst>
        </pc:sldLayoutChg>
        <pc:sldLayoutChg chg="del">
          <pc:chgData name="Michael Vermeersch" userId="85409873-b96b-4669-be5a-63f793ebbda5" providerId="ADAL" clId="{CF3B5F6C-8117-4EF7-9021-7DD02A55CF5B}" dt="2021-04-19T13:38:47.983" v="82" actId="47"/>
          <pc:sldLayoutMkLst>
            <pc:docMk/>
            <pc:sldMasterMk cId="3004800810" sldId="2147483973"/>
            <pc:sldLayoutMk cId="487467169" sldId="2147483983"/>
          </pc:sldLayoutMkLst>
        </pc:sldLayoutChg>
        <pc:sldLayoutChg chg="del">
          <pc:chgData name="Michael Vermeersch" userId="85409873-b96b-4669-be5a-63f793ebbda5" providerId="ADAL" clId="{CF3B5F6C-8117-4EF7-9021-7DD02A55CF5B}" dt="2021-04-19T13:38:47.983" v="82" actId="47"/>
          <pc:sldLayoutMkLst>
            <pc:docMk/>
            <pc:sldMasterMk cId="3004800810" sldId="2147483973"/>
            <pc:sldLayoutMk cId="1031036487" sldId="2147483984"/>
          </pc:sldLayoutMkLst>
        </pc:sldLayoutChg>
      </pc:sldMasterChg>
      <pc:sldMasterChg chg="addSldLayout delSldLayout modSldLayout">
        <pc:chgData name="Michael Vermeersch" userId="85409873-b96b-4669-be5a-63f793ebbda5" providerId="ADAL" clId="{CF3B5F6C-8117-4EF7-9021-7DD02A55CF5B}" dt="2021-04-19T13:18:04.809" v="68" actId="22"/>
        <pc:sldMasterMkLst>
          <pc:docMk/>
          <pc:sldMasterMk cId="2897276090" sldId="2147483986"/>
        </pc:sldMasterMkLst>
        <pc:sldLayoutChg chg="add del mod">
          <pc:chgData name="Michael Vermeersch" userId="85409873-b96b-4669-be5a-63f793ebbda5" providerId="ADAL" clId="{CF3B5F6C-8117-4EF7-9021-7DD02A55CF5B}" dt="2021-04-19T13:18:04.809" v="68" actId="22"/>
          <pc:sldLayoutMkLst>
            <pc:docMk/>
            <pc:sldMasterMk cId="2897276090" sldId="2147483986"/>
            <pc:sldLayoutMk cId="3986534114" sldId="2147484000"/>
          </pc:sldLayoutMkLst>
        </pc:sldLayoutChg>
      </pc:sldMasterChg>
    </pc:docChg>
  </pc:docChgLst>
  <pc:docChgLst>
    <pc:chgData name="Michael Vermeersch" userId="85409873-b96b-4669-be5a-63f793ebbda5" providerId="ADAL" clId="{093D8CA4-BE60-4096-8845-228E1FAF26E3}"/>
    <pc:docChg chg="undo custSel addSld delSld modSld sldOrd delMainMaster">
      <pc:chgData name="Michael Vermeersch" userId="85409873-b96b-4669-be5a-63f793ebbda5" providerId="ADAL" clId="{093D8CA4-BE60-4096-8845-228E1FAF26E3}" dt="2021-05-25T15:13:09.843" v="111"/>
      <pc:docMkLst>
        <pc:docMk/>
      </pc:docMkLst>
      <pc:sldChg chg="del">
        <pc:chgData name="Michael Vermeersch" userId="85409873-b96b-4669-be5a-63f793ebbda5" providerId="ADAL" clId="{093D8CA4-BE60-4096-8845-228E1FAF26E3}" dt="2021-05-25T12:02:15.651" v="57" actId="47"/>
        <pc:sldMkLst>
          <pc:docMk/>
          <pc:sldMk cId="3552316574" sldId="268"/>
        </pc:sldMkLst>
      </pc:sldChg>
      <pc:sldChg chg="del">
        <pc:chgData name="Michael Vermeersch" userId="85409873-b96b-4669-be5a-63f793ebbda5" providerId="ADAL" clId="{093D8CA4-BE60-4096-8845-228E1FAF26E3}" dt="2021-05-25T12:02:37.323" v="60" actId="47"/>
        <pc:sldMkLst>
          <pc:docMk/>
          <pc:sldMk cId="683504300" sldId="588"/>
        </pc:sldMkLst>
      </pc:sldChg>
      <pc:sldChg chg="del">
        <pc:chgData name="Michael Vermeersch" userId="85409873-b96b-4669-be5a-63f793ebbda5" providerId="ADAL" clId="{093D8CA4-BE60-4096-8845-228E1FAF26E3}" dt="2021-05-25T12:02:37.323" v="60" actId="47"/>
        <pc:sldMkLst>
          <pc:docMk/>
          <pc:sldMk cId="1667271502" sldId="589"/>
        </pc:sldMkLst>
      </pc:sldChg>
      <pc:sldChg chg="del">
        <pc:chgData name="Michael Vermeersch" userId="85409873-b96b-4669-be5a-63f793ebbda5" providerId="ADAL" clId="{093D8CA4-BE60-4096-8845-228E1FAF26E3}" dt="2021-05-25T12:02:47.789" v="61" actId="47"/>
        <pc:sldMkLst>
          <pc:docMk/>
          <pc:sldMk cId="3220435698" sldId="591"/>
        </pc:sldMkLst>
      </pc:sldChg>
      <pc:sldChg chg="modSp mod">
        <pc:chgData name="Michael Vermeersch" userId="85409873-b96b-4669-be5a-63f793ebbda5" providerId="ADAL" clId="{093D8CA4-BE60-4096-8845-228E1FAF26E3}" dt="2021-05-25T11:56:07.748" v="56" actId="20577"/>
        <pc:sldMkLst>
          <pc:docMk/>
          <pc:sldMk cId="1310105821" sldId="1718"/>
        </pc:sldMkLst>
        <pc:spChg chg="mod">
          <ac:chgData name="Michael Vermeersch" userId="85409873-b96b-4669-be5a-63f793ebbda5" providerId="ADAL" clId="{093D8CA4-BE60-4096-8845-228E1FAF26E3}" dt="2021-05-25T11:56:07.748" v="56" actId="20577"/>
          <ac:spMkLst>
            <pc:docMk/>
            <pc:sldMk cId="1310105821" sldId="1718"/>
            <ac:spMk id="2" creationId="{00000000-0000-0000-0000-000000000000}"/>
          </ac:spMkLst>
        </pc:spChg>
      </pc:sldChg>
      <pc:sldChg chg="del">
        <pc:chgData name="Michael Vermeersch" userId="85409873-b96b-4669-be5a-63f793ebbda5" providerId="ADAL" clId="{093D8CA4-BE60-4096-8845-228E1FAF26E3}" dt="2021-05-25T12:02:15.651" v="57" actId="47"/>
        <pc:sldMkLst>
          <pc:docMk/>
          <pc:sldMk cId="374647199" sldId="4321"/>
        </pc:sldMkLst>
      </pc:sldChg>
      <pc:sldChg chg="del">
        <pc:chgData name="Michael Vermeersch" userId="85409873-b96b-4669-be5a-63f793ebbda5" providerId="ADAL" clId="{093D8CA4-BE60-4096-8845-228E1FAF26E3}" dt="2021-05-25T12:09:11.062" v="72" actId="47"/>
        <pc:sldMkLst>
          <pc:docMk/>
          <pc:sldMk cId="417540835" sldId="4418"/>
        </pc:sldMkLst>
      </pc:sldChg>
      <pc:sldChg chg="del">
        <pc:chgData name="Michael Vermeersch" userId="85409873-b96b-4669-be5a-63f793ebbda5" providerId="ADAL" clId="{093D8CA4-BE60-4096-8845-228E1FAF26E3}" dt="2021-05-25T12:09:11.062" v="72" actId="47"/>
        <pc:sldMkLst>
          <pc:docMk/>
          <pc:sldMk cId="2148948919" sldId="4459"/>
        </pc:sldMkLst>
      </pc:sldChg>
      <pc:sldChg chg="ord">
        <pc:chgData name="Michael Vermeersch" userId="85409873-b96b-4669-be5a-63f793ebbda5" providerId="ADAL" clId="{093D8CA4-BE60-4096-8845-228E1FAF26E3}" dt="2021-05-25T12:02:22.555" v="59"/>
        <pc:sldMkLst>
          <pc:docMk/>
          <pc:sldMk cId="4170164154" sldId="4768"/>
        </pc:sldMkLst>
      </pc:sldChg>
      <pc:sldChg chg="del">
        <pc:chgData name="Michael Vermeersch" userId="85409873-b96b-4669-be5a-63f793ebbda5" providerId="ADAL" clId="{093D8CA4-BE60-4096-8845-228E1FAF26E3}" dt="2021-05-25T12:07:43.888" v="66" actId="47"/>
        <pc:sldMkLst>
          <pc:docMk/>
          <pc:sldMk cId="1844654292" sldId="4769"/>
        </pc:sldMkLst>
      </pc:sldChg>
      <pc:sldChg chg="addSp modSp add del mod ord">
        <pc:chgData name="Michael Vermeersch" userId="85409873-b96b-4669-be5a-63f793ebbda5" providerId="ADAL" clId="{093D8CA4-BE60-4096-8845-228E1FAF26E3}" dt="2021-05-25T13:19:15.940" v="98" actId="962"/>
        <pc:sldMkLst>
          <pc:docMk/>
          <pc:sldMk cId="1250150012" sldId="4778"/>
        </pc:sldMkLst>
        <pc:spChg chg="add mod">
          <ac:chgData name="Michael Vermeersch" userId="85409873-b96b-4669-be5a-63f793ebbda5" providerId="ADAL" clId="{093D8CA4-BE60-4096-8845-228E1FAF26E3}" dt="2021-05-25T13:19:15.940" v="98" actId="962"/>
          <ac:spMkLst>
            <pc:docMk/>
            <pc:sldMk cId="1250150012" sldId="4778"/>
            <ac:spMk id="6" creationId="{3B6F1E84-149E-48ED-B217-AF1807F792A0}"/>
          </ac:spMkLst>
        </pc:spChg>
      </pc:sldChg>
      <pc:sldChg chg="del">
        <pc:chgData name="Michael Vermeersch" userId="85409873-b96b-4669-be5a-63f793ebbda5" providerId="ADAL" clId="{093D8CA4-BE60-4096-8845-228E1FAF26E3}" dt="2021-05-25T12:02:54.573" v="62" actId="47"/>
        <pc:sldMkLst>
          <pc:docMk/>
          <pc:sldMk cId="534755059" sldId="4779"/>
        </pc:sldMkLst>
      </pc:sldChg>
      <pc:sldChg chg="del">
        <pc:chgData name="Michael Vermeersch" userId="85409873-b96b-4669-be5a-63f793ebbda5" providerId="ADAL" clId="{093D8CA4-BE60-4096-8845-228E1FAF26E3}" dt="2021-05-25T12:12:59.098" v="91" actId="47"/>
        <pc:sldMkLst>
          <pc:docMk/>
          <pc:sldMk cId="4129982806" sldId="4785"/>
        </pc:sldMkLst>
      </pc:sldChg>
      <pc:sldChg chg="del">
        <pc:chgData name="Michael Vermeersch" userId="85409873-b96b-4669-be5a-63f793ebbda5" providerId="ADAL" clId="{093D8CA4-BE60-4096-8845-228E1FAF26E3}" dt="2021-05-25T12:09:11.062" v="72" actId="47"/>
        <pc:sldMkLst>
          <pc:docMk/>
          <pc:sldMk cId="3271561913" sldId="4786"/>
        </pc:sldMkLst>
      </pc:sldChg>
      <pc:sldChg chg="add del setBg">
        <pc:chgData name="Michael Vermeersch" userId="85409873-b96b-4669-be5a-63f793ebbda5" providerId="ADAL" clId="{093D8CA4-BE60-4096-8845-228E1FAF26E3}" dt="2021-05-25T12:08:00.585" v="69"/>
        <pc:sldMkLst>
          <pc:docMk/>
          <pc:sldMk cId="225170704" sldId="4788"/>
        </pc:sldMkLst>
      </pc:sldChg>
      <pc:sldChg chg="add del">
        <pc:chgData name="Michael Vermeersch" userId="85409873-b96b-4669-be5a-63f793ebbda5" providerId="ADAL" clId="{093D8CA4-BE60-4096-8845-228E1FAF26E3}" dt="2021-05-25T12:11:20.230" v="76" actId="47"/>
        <pc:sldMkLst>
          <pc:docMk/>
          <pc:sldMk cId="3305354151" sldId="4821"/>
        </pc:sldMkLst>
      </pc:sldChg>
      <pc:sldChg chg="add del">
        <pc:chgData name="Michael Vermeersch" userId="85409873-b96b-4669-be5a-63f793ebbda5" providerId="ADAL" clId="{093D8CA4-BE60-4096-8845-228E1FAF26E3}" dt="2021-05-25T12:09:38.766" v="74" actId="22"/>
        <pc:sldMkLst>
          <pc:docMk/>
          <pc:sldMk cId="3549290014" sldId="4821"/>
        </pc:sldMkLst>
      </pc:sldChg>
      <pc:sldChg chg="del">
        <pc:chgData name="Michael Vermeersch" userId="85409873-b96b-4669-be5a-63f793ebbda5" providerId="ADAL" clId="{093D8CA4-BE60-4096-8845-228E1FAF26E3}" dt="2021-05-25T12:02:37.323" v="60" actId="47"/>
        <pc:sldMkLst>
          <pc:docMk/>
          <pc:sldMk cId="1886975115" sldId="4874"/>
        </pc:sldMkLst>
      </pc:sldChg>
      <pc:sldChg chg="del">
        <pc:chgData name="Michael Vermeersch" userId="85409873-b96b-4669-be5a-63f793ebbda5" providerId="ADAL" clId="{093D8CA4-BE60-4096-8845-228E1FAF26E3}" dt="2021-05-25T12:02:37.323" v="60" actId="47"/>
        <pc:sldMkLst>
          <pc:docMk/>
          <pc:sldMk cId="2301799873" sldId="4875"/>
        </pc:sldMkLst>
      </pc:sldChg>
      <pc:sldChg chg="del">
        <pc:chgData name="Michael Vermeersch" userId="85409873-b96b-4669-be5a-63f793ebbda5" providerId="ADAL" clId="{093D8CA4-BE60-4096-8845-228E1FAF26E3}" dt="2021-05-25T12:02:37.323" v="60" actId="47"/>
        <pc:sldMkLst>
          <pc:docMk/>
          <pc:sldMk cId="6604384" sldId="4876"/>
        </pc:sldMkLst>
      </pc:sldChg>
      <pc:sldChg chg="del">
        <pc:chgData name="Michael Vermeersch" userId="85409873-b96b-4669-be5a-63f793ebbda5" providerId="ADAL" clId="{093D8CA4-BE60-4096-8845-228E1FAF26E3}" dt="2021-05-25T12:08:43.130" v="71" actId="47"/>
        <pc:sldMkLst>
          <pc:docMk/>
          <pc:sldMk cId="946209358" sldId="4877"/>
        </pc:sldMkLst>
      </pc:sldChg>
      <pc:sldChg chg="del">
        <pc:chgData name="Michael Vermeersch" userId="85409873-b96b-4669-be5a-63f793ebbda5" providerId="ADAL" clId="{093D8CA4-BE60-4096-8845-228E1FAF26E3}" dt="2021-05-25T12:02:37.323" v="60" actId="47"/>
        <pc:sldMkLst>
          <pc:docMk/>
          <pc:sldMk cId="1110977711" sldId="4878"/>
        </pc:sldMkLst>
      </pc:sldChg>
      <pc:sldChg chg="del">
        <pc:chgData name="Michael Vermeersch" userId="85409873-b96b-4669-be5a-63f793ebbda5" providerId="ADAL" clId="{093D8CA4-BE60-4096-8845-228E1FAF26E3}" dt="2021-05-25T12:02:54.573" v="62" actId="47"/>
        <pc:sldMkLst>
          <pc:docMk/>
          <pc:sldMk cId="122907388" sldId="4882"/>
        </pc:sldMkLst>
      </pc:sldChg>
      <pc:sldChg chg="del">
        <pc:chgData name="Michael Vermeersch" userId="85409873-b96b-4669-be5a-63f793ebbda5" providerId="ADAL" clId="{093D8CA4-BE60-4096-8845-228E1FAF26E3}" dt="2021-05-25T12:02:54.573" v="62" actId="47"/>
        <pc:sldMkLst>
          <pc:docMk/>
          <pc:sldMk cId="2589084374" sldId="4883"/>
        </pc:sldMkLst>
      </pc:sldChg>
      <pc:sldChg chg="del">
        <pc:chgData name="Michael Vermeersch" userId="85409873-b96b-4669-be5a-63f793ebbda5" providerId="ADAL" clId="{093D8CA4-BE60-4096-8845-228E1FAF26E3}" dt="2021-05-25T12:09:11.062" v="72" actId="47"/>
        <pc:sldMkLst>
          <pc:docMk/>
          <pc:sldMk cId="2734863170" sldId="4885"/>
        </pc:sldMkLst>
      </pc:sldChg>
      <pc:sldChg chg="del">
        <pc:chgData name="Michael Vermeersch" userId="85409873-b96b-4669-be5a-63f793ebbda5" providerId="ADAL" clId="{093D8CA4-BE60-4096-8845-228E1FAF26E3}" dt="2021-05-25T12:09:11.062" v="72" actId="47"/>
        <pc:sldMkLst>
          <pc:docMk/>
          <pc:sldMk cId="3734682760" sldId="10775"/>
        </pc:sldMkLst>
      </pc:sldChg>
      <pc:sldChg chg="modSp add mod ord">
        <pc:chgData name="Michael Vermeersch" userId="85409873-b96b-4669-be5a-63f793ebbda5" providerId="ADAL" clId="{093D8CA4-BE60-4096-8845-228E1FAF26E3}" dt="2021-05-25T12:12:02.629" v="89" actId="6549"/>
        <pc:sldMkLst>
          <pc:docMk/>
          <pc:sldMk cId="3859328238" sldId="10791"/>
        </pc:sldMkLst>
        <pc:spChg chg="mod">
          <ac:chgData name="Michael Vermeersch" userId="85409873-b96b-4669-be5a-63f793ebbda5" providerId="ADAL" clId="{093D8CA4-BE60-4096-8845-228E1FAF26E3}" dt="2021-05-25T12:11:52.565" v="88" actId="6549"/>
          <ac:spMkLst>
            <pc:docMk/>
            <pc:sldMk cId="3859328238" sldId="10791"/>
            <ac:spMk id="14" creationId="{B1EDFBFC-58C3-8645-99C3-13E90D0A55D7}"/>
          </ac:spMkLst>
        </pc:spChg>
        <pc:spChg chg="mod">
          <ac:chgData name="Michael Vermeersch" userId="85409873-b96b-4669-be5a-63f793ebbda5" providerId="ADAL" clId="{093D8CA4-BE60-4096-8845-228E1FAF26E3}" dt="2021-05-25T12:12:02.629" v="89" actId="6549"/>
          <ac:spMkLst>
            <pc:docMk/>
            <pc:sldMk cId="3859328238" sldId="10791"/>
            <ac:spMk id="29" creationId="{89FA8CB6-D568-455C-94F3-A06828D5B449}"/>
          </ac:spMkLst>
        </pc:spChg>
      </pc:sldChg>
      <pc:sldChg chg="del">
        <pc:chgData name="Michael Vermeersch" userId="85409873-b96b-4669-be5a-63f793ebbda5" providerId="ADAL" clId="{093D8CA4-BE60-4096-8845-228E1FAF26E3}" dt="2021-05-25T12:09:11.062" v="72" actId="47"/>
        <pc:sldMkLst>
          <pc:docMk/>
          <pc:sldMk cId="1472910814" sldId="2141411293"/>
        </pc:sldMkLst>
      </pc:sldChg>
      <pc:sldChg chg="del">
        <pc:chgData name="Michael Vermeersch" userId="85409873-b96b-4669-be5a-63f793ebbda5" providerId="ADAL" clId="{093D8CA4-BE60-4096-8845-228E1FAF26E3}" dt="2021-05-25T12:09:11.062" v="72" actId="47"/>
        <pc:sldMkLst>
          <pc:docMk/>
          <pc:sldMk cId="1609357558" sldId="2141411295"/>
        </pc:sldMkLst>
      </pc:sldChg>
      <pc:sldChg chg="del">
        <pc:chgData name="Michael Vermeersch" userId="85409873-b96b-4669-be5a-63f793ebbda5" providerId="ADAL" clId="{093D8CA4-BE60-4096-8845-228E1FAF26E3}" dt="2021-05-25T12:09:11.062" v="72" actId="47"/>
        <pc:sldMkLst>
          <pc:docMk/>
          <pc:sldMk cId="354848018" sldId="2141411296"/>
        </pc:sldMkLst>
      </pc:sldChg>
      <pc:sldChg chg="del">
        <pc:chgData name="Michael Vermeersch" userId="85409873-b96b-4669-be5a-63f793ebbda5" providerId="ADAL" clId="{093D8CA4-BE60-4096-8845-228E1FAF26E3}" dt="2021-05-25T12:09:11.062" v="72" actId="47"/>
        <pc:sldMkLst>
          <pc:docMk/>
          <pc:sldMk cId="724948198" sldId="2141411297"/>
        </pc:sldMkLst>
      </pc:sldChg>
      <pc:sldChg chg="addSp delSp modSp new mod setBg addAnim delAnim">
        <pc:chgData name="Michael Vermeersch" userId="85409873-b96b-4669-be5a-63f793ebbda5" providerId="ADAL" clId="{093D8CA4-BE60-4096-8845-228E1FAF26E3}" dt="2021-05-25T15:13:09.843" v="111"/>
        <pc:sldMkLst>
          <pc:docMk/>
          <pc:sldMk cId="2078037651" sldId="2141411300"/>
        </pc:sldMkLst>
        <pc:spChg chg="mod">
          <ac:chgData name="Michael Vermeersch" userId="85409873-b96b-4669-be5a-63f793ebbda5" providerId="ADAL" clId="{093D8CA4-BE60-4096-8845-228E1FAF26E3}" dt="2021-05-25T15:13:09.839" v="110" actId="26606"/>
          <ac:spMkLst>
            <pc:docMk/>
            <pc:sldMk cId="2078037651" sldId="2141411300"/>
            <ac:spMk id="2" creationId="{F9795218-DC5E-498A-ACDB-CDC8F9105D4E}"/>
          </ac:spMkLst>
        </pc:spChg>
        <pc:spChg chg="add del">
          <ac:chgData name="Michael Vermeersch" userId="85409873-b96b-4669-be5a-63f793ebbda5" providerId="ADAL" clId="{093D8CA4-BE60-4096-8845-228E1FAF26E3}" dt="2021-05-25T15:13:09.831" v="109" actId="26606"/>
          <ac:spMkLst>
            <pc:docMk/>
            <pc:sldMk cId="2078037651" sldId="2141411300"/>
            <ac:spMk id="8" creationId="{87CC2527-562A-4F69-B487-4371E5B243E7}"/>
          </ac:spMkLst>
        </pc:spChg>
        <pc:spChg chg="add">
          <ac:chgData name="Michael Vermeersch" userId="85409873-b96b-4669-be5a-63f793ebbda5" providerId="ADAL" clId="{093D8CA4-BE60-4096-8845-228E1FAF26E3}" dt="2021-05-25T15:13:09.839" v="110" actId="26606"/>
          <ac:spMkLst>
            <pc:docMk/>
            <pc:sldMk cId="2078037651" sldId="2141411300"/>
            <ac:spMk id="12" creationId="{C1DD1A8A-57D5-4A81-AD04-532B043C5611}"/>
          </ac:spMkLst>
        </pc:spChg>
        <pc:spChg chg="add">
          <ac:chgData name="Michael Vermeersch" userId="85409873-b96b-4669-be5a-63f793ebbda5" providerId="ADAL" clId="{093D8CA4-BE60-4096-8845-228E1FAF26E3}" dt="2021-05-25T15:13:09.839" v="110" actId="26606"/>
          <ac:spMkLst>
            <pc:docMk/>
            <pc:sldMk cId="2078037651" sldId="2141411300"/>
            <ac:spMk id="14" creationId="{007891EC-4501-44ED-A8C8-B11B6DB767AB}"/>
          </ac:spMkLst>
        </pc:spChg>
        <pc:picChg chg="add del">
          <ac:chgData name="Michael Vermeersch" userId="85409873-b96b-4669-be5a-63f793ebbda5" providerId="ADAL" clId="{093D8CA4-BE60-4096-8845-228E1FAF26E3}" dt="2021-05-25T15:13:09.831" v="109" actId="26606"/>
          <ac:picMkLst>
            <pc:docMk/>
            <pc:sldMk cId="2078037651" sldId="2141411300"/>
            <ac:picMk id="4" creationId="{FE25F0E2-5E15-4FF7-B4BF-C450709AF231}"/>
          </ac:picMkLst>
        </pc:picChg>
        <pc:picChg chg="add">
          <ac:chgData name="Michael Vermeersch" userId="85409873-b96b-4669-be5a-63f793ebbda5" providerId="ADAL" clId="{093D8CA4-BE60-4096-8845-228E1FAF26E3}" dt="2021-05-25T15:13:09.839" v="110" actId="26606"/>
          <ac:picMkLst>
            <pc:docMk/>
            <pc:sldMk cId="2078037651" sldId="2141411300"/>
            <ac:picMk id="13" creationId="{38E82F0E-71C5-4711-8295-F64BAF232A5A}"/>
          </ac:picMkLst>
        </pc:picChg>
        <pc:cxnChg chg="add del">
          <ac:chgData name="Michael Vermeersch" userId="85409873-b96b-4669-be5a-63f793ebbda5" providerId="ADAL" clId="{093D8CA4-BE60-4096-8845-228E1FAF26E3}" dt="2021-05-25T15:13:09.831" v="109" actId="26606"/>
          <ac:cxnSpMkLst>
            <pc:docMk/>
            <pc:sldMk cId="2078037651" sldId="2141411300"/>
            <ac:cxnSpMk id="10" creationId="{BCDAEC91-5BCE-4B55-9CC0-43EF94CB734B}"/>
          </ac:cxnSpMkLst>
        </pc:cxnChg>
      </pc:sldChg>
      <pc:sldChg chg="del">
        <pc:chgData name="Michael Vermeersch" userId="85409873-b96b-4669-be5a-63f793ebbda5" providerId="ADAL" clId="{093D8CA4-BE60-4096-8845-228E1FAF26E3}" dt="2021-05-25T12:12:25.636" v="90" actId="47"/>
        <pc:sldMkLst>
          <pc:docMk/>
          <pc:sldMk cId="2218482752" sldId="2141411300"/>
        </pc:sldMkLst>
      </pc:sldChg>
      <pc:sldMasterChg chg="del delSldLayout">
        <pc:chgData name="Michael Vermeersch" userId="85409873-b96b-4669-be5a-63f793ebbda5" providerId="ADAL" clId="{093D8CA4-BE60-4096-8845-228E1FAF26E3}" dt="2021-05-25T12:09:11.062" v="72" actId="47"/>
        <pc:sldMasterMkLst>
          <pc:docMk/>
          <pc:sldMasterMk cId="3900483376" sldId="2147483648"/>
        </pc:sldMasterMkLst>
        <pc:sldLayoutChg chg="del">
          <pc:chgData name="Michael Vermeersch" userId="85409873-b96b-4669-be5a-63f793ebbda5" providerId="ADAL" clId="{093D8CA4-BE60-4096-8845-228E1FAF26E3}" dt="2021-05-25T12:09:11.062" v="72" actId="47"/>
          <pc:sldLayoutMkLst>
            <pc:docMk/>
            <pc:sldMasterMk cId="3900483376" sldId="2147483648"/>
            <pc:sldLayoutMk cId="2477837901" sldId="2147483649"/>
          </pc:sldLayoutMkLst>
        </pc:sldLayoutChg>
        <pc:sldLayoutChg chg="del">
          <pc:chgData name="Michael Vermeersch" userId="85409873-b96b-4669-be5a-63f793ebbda5" providerId="ADAL" clId="{093D8CA4-BE60-4096-8845-228E1FAF26E3}" dt="2021-05-25T12:09:11.062" v="72" actId="47"/>
          <pc:sldLayoutMkLst>
            <pc:docMk/>
            <pc:sldMasterMk cId="3900483376" sldId="2147483648"/>
            <pc:sldLayoutMk cId="3633907160" sldId="2147483650"/>
          </pc:sldLayoutMkLst>
        </pc:sldLayoutChg>
        <pc:sldLayoutChg chg="del">
          <pc:chgData name="Michael Vermeersch" userId="85409873-b96b-4669-be5a-63f793ebbda5" providerId="ADAL" clId="{093D8CA4-BE60-4096-8845-228E1FAF26E3}" dt="2021-05-25T12:09:11.062" v="72" actId="47"/>
          <pc:sldLayoutMkLst>
            <pc:docMk/>
            <pc:sldMasterMk cId="3900483376" sldId="2147483648"/>
            <pc:sldLayoutMk cId="1175585742" sldId="2147483651"/>
          </pc:sldLayoutMkLst>
        </pc:sldLayoutChg>
        <pc:sldLayoutChg chg="del">
          <pc:chgData name="Michael Vermeersch" userId="85409873-b96b-4669-be5a-63f793ebbda5" providerId="ADAL" clId="{093D8CA4-BE60-4096-8845-228E1FAF26E3}" dt="2021-05-25T12:09:11.062" v="72" actId="47"/>
          <pc:sldLayoutMkLst>
            <pc:docMk/>
            <pc:sldMasterMk cId="3900483376" sldId="2147483648"/>
            <pc:sldLayoutMk cId="3471121318" sldId="2147483652"/>
          </pc:sldLayoutMkLst>
        </pc:sldLayoutChg>
        <pc:sldLayoutChg chg="del">
          <pc:chgData name="Michael Vermeersch" userId="85409873-b96b-4669-be5a-63f793ebbda5" providerId="ADAL" clId="{093D8CA4-BE60-4096-8845-228E1FAF26E3}" dt="2021-05-25T12:09:11.062" v="72" actId="47"/>
          <pc:sldLayoutMkLst>
            <pc:docMk/>
            <pc:sldMasterMk cId="3900483376" sldId="2147483648"/>
            <pc:sldLayoutMk cId="3938350570" sldId="2147483653"/>
          </pc:sldLayoutMkLst>
        </pc:sldLayoutChg>
        <pc:sldLayoutChg chg="del">
          <pc:chgData name="Michael Vermeersch" userId="85409873-b96b-4669-be5a-63f793ebbda5" providerId="ADAL" clId="{093D8CA4-BE60-4096-8845-228E1FAF26E3}" dt="2021-05-25T12:09:11.062" v="72" actId="47"/>
          <pc:sldLayoutMkLst>
            <pc:docMk/>
            <pc:sldMasterMk cId="3900483376" sldId="2147483648"/>
            <pc:sldLayoutMk cId="2421956731" sldId="2147483654"/>
          </pc:sldLayoutMkLst>
        </pc:sldLayoutChg>
        <pc:sldLayoutChg chg="del">
          <pc:chgData name="Michael Vermeersch" userId="85409873-b96b-4669-be5a-63f793ebbda5" providerId="ADAL" clId="{093D8CA4-BE60-4096-8845-228E1FAF26E3}" dt="2021-05-25T12:09:11.062" v="72" actId="47"/>
          <pc:sldLayoutMkLst>
            <pc:docMk/>
            <pc:sldMasterMk cId="3900483376" sldId="2147483648"/>
            <pc:sldLayoutMk cId="1954639104" sldId="2147483655"/>
          </pc:sldLayoutMkLst>
        </pc:sldLayoutChg>
        <pc:sldLayoutChg chg="del">
          <pc:chgData name="Michael Vermeersch" userId="85409873-b96b-4669-be5a-63f793ebbda5" providerId="ADAL" clId="{093D8CA4-BE60-4096-8845-228E1FAF26E3}" dt="2021-05-25T12:09:11.062" v="72" actId="47"/>
          <pc:sldLayoutMkLst>
            <pc:docMk/>
            <pc:sldMasterMk cId="3900483376" sldId="2147483648"/>
            <pc:sldLayoutMk cId="2125055104" sldId="2147483656"/>
          </pc:sldLayoutMkLst>
        </pc:sldLayoutChg>
        <pc:sldLayoutChg chg="del">
          <pc:chgData name="Michael Vermeersch" userId="85409873-b96b-4669-be5a-63f793ebbda5" providerId="ADAL" clId="{093D8CA4-BE60-4096-8845-228E1FAF26E3}" dt="2021-05-25T12:09:11.062" v="72" actId="47"/>
          <pc:sldLayoutMkLst>
            <pc:docMk/>
            <pc:sldMasterMk cId="3900483376" sldId="2147483648"/>
            <pc:sldLayoutMk cId="1783102351" sldId="2147483657"/>
          </pc:sldLayoutMkLst>
        </pc:sldLayoutChg>
        <pc:sldLayoutChg chg="del">
          <pc:chgData name="Michael Vermeersch" userId="85409873-b96b-4669-be5a-63f793ebbda5" providerId="ADAL" clId="{093D8CA4-BE60-4096-8845-228E1FAF26E3}" dt="2021-05-25T12:09:11.062" v="72" actId="47"/>
          <pc:sldLayoutMkLst>
            <pc:docMk/>
            <pc:sldMasterMk cId="3900483376" sldId="2147483648"/>
            <pc:sldLayoutMk cId="972926049" sldId="2147483658"/>
          </pc:sldLayoutMkLst>
        </pc:sldLayoutChg>
        <pc:sldLayoutChg chg="del">
          <pc:chgData name="Michael Vermeersch" userId="85409873-b96b-4669-be5a-63f793ebbda5" providerId="ADAL" clId="{093D8CA4-BE60-4096-8845-228E1FAF26E3}" dt="2021-05-25T12:09:11.062" v="72" actId="47"/>
          <pc:sldLayoutMkLst>
            <pc:docMk/>
            <pc:sldMasterMk cId="3900483376" sldId="2147483648"/>
            <pc:sldLayoutMk cId="1359962369" sldId="2147483659"/>
          </pc:sldLayoutMkLst>
        </pc:sldLayoutChg>
      </pc:sldMasterChg>
      <pc:sldMasterChg chg="delSldLayout">
        <pc:chgData name="Michael Vermeersch" userId="85409873-b96b-4669-be5a-63f793ebbda5" providerId="ADAL" clId="{093D8CA4-BE60-4096-8845-228E1FAF26E3}" dt="2021-05-25T12:02:47.789" v="61" actId="47"/>
        <pc:sldMasterMkLst>
          <pc:docMk/>
          <pc:sldMasterMk cId="2705911975" sldId="2147483680"/>
        </pc:sldMasterMkLst>
        <pc:sldLayoutChg chg="del">
          <pc:chgData name="Michael Vermeersch" userId="85409873-b96b-4669-be5a-63f793ebbda5" providerId="ADAL" clId="{093D8CA4-BE60-4096-8845-228E1FAF26E3}" dt="2021-05-25T12:02:47.789" v="61" actId="47"/>
          <pc:sldLayoutMkLst>
            <pc:docMk/>
            <pc:sldMasterMk cId="2705911975" sldId="2147483680"/>
            <pc:sldLayoutMk cId="3101027920" sldId="2147484126"/>
          </pc:sldLayoutMkLst>
        </pc:sldLayoutChg>
      </pc:sldMasterChg>
      <pc:sldMasterChg chg="del delSldLayout">
        <pc:chgData name="Michael Vermeersch" userId="85409873-b96b-4669-be5a-63f793ebbda5" providerId="ADAL" clId="{093D8CA4-BE60-4096-8845-228E1FAF26E3}" dt="2021-05-25T12:12:25.636" v="90" actId="47"/>
        <pc:sldMasterMkLst>
          <pc:docMk/>
          <pc:sldMasterMk cId="2895638375" sldId="2147483694"/>
        </pc:sldMasterMkLst>
        <pc:sldLayoutChg chg="del">
          <pc:chgData name="Michael Vermeersch" userId="85409873-b96b-4669-be5a-63f793ebbda5" providerId="ADAL" clId="{093D8CA4-BE60-4096-8845-228E1FAF26E3}" dt="2021-05-25T12:12:25.636" v="90" actId="47"/>
          <pc:sldLayoutMkLst>
            <pc:docMk/>
            <pc:sldMasterMk cId="2895638375" sldId="2147483694"/>
            <pc:sldLayoutMk cId="1159919322" sldId="2147483695"/>
          </pc:sldLayoutMkLst>
        </pc:sldLayoutChg>
        <pc:sldLayoutChg chg="del">
          <pc:chgData name="Michael Vermeersch" userId="85409873-b96b-4669-be5a-63f793ebbda5" providerId="ADAL" clId="{093D8CA4-BE60-4096-8845-228E1FAF26E3}" dt="2021-05-25T12:12:25.636" v="90" actId="47"/>
          <pc:sldLayoutMkLst>
            <pc:docMk/>
            <pc:sldMasterMk cId="2895638375" sldId="2147483694"/>
            <pc:sldLayoutMk cId="871911001" sldId="2147483696"/>
          </pc:sldLayoutMkLst>
        </pc:sldLayoutChg>
        <pc:sldLayoutChg chg="del">
          <pc:chgData name="Michael Vermeersch" userId="85409873-b96b-4669-be5a-63f793ebbda5" providerId="ADAL" clId="{093D8CA4-BE60-4096-8845-228E1FAF26E3}" dt="2021-05-25T12:12:25.636" v="90" actId="47"/>
          <pc:sldLayoutMkLst>
            <pc:docMk/>
            <pc:sldMasterMk cId="2895638375" sldId="2147483694"/>
            <pc:sldLayoutMk cId="153088507" sldId="2147483697"/>
          </pc:sldLayoutMkLst>
        </pc:sldLayoutChg>
        <pc:sldLayoutChg chg="del">
          <pc:chgData name="Michael Vermeersch" userId="85409873-b96b-4669-be5a-63f793ebbda5" providerId="ADAL" clId="{093D8CA4-BE60-4096-8845-228E1FAF26E3}" dt="2021-05-25T12:12:25.636" v="90" actId="47"/>
          <pc:sldLayoutMkLst>
            <pc:docMk/>
            <pc:sldMasterMk cId="2895638375" sldId="2147483694"/>
            <pc:sldLayoutMk cId="3329934645" sldId="2147483698"/>
          </pc:sldLayoutMkLst>
        </pc:sldLayoutChg>
        <pc:sldLayoutChg chg="del">
          <pc:chgData name="Michael Vermeersch" userId="85409873-b96b-4669-be5a-63f793ebbda5" providerId="ADAL" clId="{093D8CA4-BE60-4096-8845-228E1FAF26E3}" dt="2021-05-25T12:12:25.636" v="90" actId="47"/>
          <pc:sldLayoutMkLst>
            <pc:docMk/>
            <pc:sldMasterMk cId="2895638375" sldId="2147483694"/>
            <pc:sldLayoutMk cId="2707254407" sldId="2147483699"/>
          </pc:sldLayoutMkLst>
        </pc:sldLayoutChg>
        <pc:sldLayoutChg chg="del">
          <pc:chgData name="Michael Vermeersch" userId="85409873-b96b-4669-be5a-63f793ebbda5" providerId="ADAL" clId="{093D8CA4-BE60-4096-8845-228E1FAF26E3}" dt="2021-05-25T12:12:25.636" v="90" actId="47"/>
          <pc:sldLayoutMkLst>
            <pc:docMk/>
            <pc:sldMasterMk cId="2895638375" sldId="2147483694"/>
            <pc:sldLayoutMk cId="2555340133" sldId="2147483700"/>
          </pc:sldLayoutMkLst>
        </pc:sldLayoutChg>
        <pc:sldLayoutChg chg="del">
          <pc:chgData name="Michael Vermeersch" userId="85409873-b96b-4669-be5a-63f793ebbda5" providerId="ADAL" clId="{093D8CA4-BE60-4096-8845-228E1FAF26E3}" dt="2021-05-25T12:12:25.636" v="90" actId="47"/>
          <pc:sldLayoutMkLst>
            <pc:docMk/>
            <pc:sldMasterMk cId="2895638375" sldId="2147483694"/>
            <pc:sldLayoutMk cId="3733078984" sldId="2147483701"/>
          </pc:sldLayoutMkLst>
        </pc:sldLayoutChg>
        <pc:sldLayoutChg chg="del">
          <pc:chgData name="Michael Vermeersch" userId="85409873-b96b-4669-be5a-63f793ebbda5" providerId="ADAL" clId="{093D8CA4-BE60-4096-8845-228E1FAF26E3}" dt="2021-05-25T12:12:25.636" v="90" actId="47"/>
          <pc:sldLayoutMkLst>
            <pc:docMk/>
            <pc:sldMasterMk cId="2895638375" sldId="2147483694"/>
            <pc:sldLayoutMk cId="2109716172" sldId="2147483702"/>
          </pc:sldLayoutMkLst>
        </pc:sldLayoutChg>
        <pc:sldLayoutChg chg="del">
          <pc:chgData name="Michael Vermeersch" userId="85409873-b96b-4669-be5a-63f793ebbda5" providerId="ADAL" clId="{093D8CA4-BE60-4096-8845-228E1FAF26E3}" dt="2021-05-25T12:12:25.636" v="90" actId="47"/>
          <pc:sldLayoutMkLst>
            <pc:docMk/>
            <pc:sldMasterMk cId="2895638375" sldId="2147483694"/>
            <pc:sldLayoutMk cId="2853071335" sldId="2147483703"/>
          </pc:sldLayoutMkLst>
        </pc:sldLayoutChg>
        <pc:sldLayoutChg chg="del">
          <pc:chgData name="Michael Vermeersch" userId="85409873-b96b-4669-be5a-63f793ebbda5" providerId="ADAL" clId="{093D8CA4-BE60-4096-8845-228E1FAF26E3}" dt="2021-05-25T12:12:25.636" v="90" actId="47"/>
          <pc:sldLayoutMkLst>
            <pc:docMk/>
            <pc:sldMasterMk cId="2895638375" sldId="2147483694"/>
            <pc:sldLayoutMk cId="1255340951" sldId="2147483704"/>
          </pc:sldLayoutMkLst>
        </pc:sldLayoutChg>
        <pc:sldLayoutChg chg="del">
          <pc:chgData name="Michael Vermeersch" userId="85409873-b96b-4669-be5a-63f793ebbda5" providerId="ADAL" clId="{093D8CA4-BE60-4096-8845-228E1FAF26E3}" dt="2021-05-25T12:12:25.636" v="90" actId="47"/>
          <pc:sldLayoutMkLst>
            <pc:docMk/>
            <pc:sldMasterMk cId="2895638375" sldId="2147483694"/>
            <pc:sldLayoutMk cId="3566036874" sldId="2147483705"/>
          </pc:sldLayoutMkLst>
        </pc:sldLayoutChg>
      </pc:sldMasterChg>
      <pc:sldMasterChg chg="del delSldLayout">
        <pc:chgData name="Michael Vermeersch" userId="85409873-b96b-4669-be5a-63f793ebbda5" providerId="ADAL" clId="{093D8CA4-BE60-4096-8845-228E1FAF26E3}" dt="2021-05-25T12:02:15.651" v="57" actId="47"/>
        <pc:sldMasterMkLst>
          <pc:docMk/>
          <pc:sldMasterMk cId="941945881" sldId="2147484073"/>
        </pc:sldMasterMkLst>
        <pc:sldLayoutChg chg="del">
          <pc:chgData name="Michael Vermeersch" userId="85409873-b96b-4669-be5a-63f793ebbda5" providerId="ADAL" clId="{093D8CA4-BE60-4096-8845-228E1FAF26E3}" dt="2021-05-25T12:02:15.651" v="57" actId="47"/>
          <pc:sldLayoutMkLst>
            <pc:docMk/>
            <pc:sldMasterMk cId="941945881" sldId="2147484073"/>
            <pc:sldLayoutMk cId="4275155562" sldId="2147484074"/>
          </pc:sldLayoutMkLst>
        </pc:sldLayoutChg>
        <pc:sldLayoutChg chg="del">
          <pc:chgData name="Michael Vermeersch" userId="85409873-b96b-4669-be5a-63f793ebbda5" providerId="ADAL" clId="{093D8CA4-BE60-4096-8845-228E1FAF26E3}" dt="2021-05-25T12:02:15.651" v="57" actId="47"/>
          <pc:sldLayoutMkLst>
            <pc:docMk/>
            <pc:sldMasterMk cId="941945881" sldId="2147484073"/>
            <pc:sldLayoutMk cId="1979583499" sldId="2147484075"/>
          </pc:sldLayoutMkLst>
        </pc:sldLayoutChg>
        <pc:sldLayoutChg chg="del">
          <pc:chgData name="Michael Vermeersch" userId="85409873-b96b-4669-be5a-63f793ebbda5" providerId="ADAL" clId="{093D8CA4-BE60-4096-8845-228E1FAF26E3}" dt="2021-05-25T12:02:15.651" v="57" actId="47"/>
          <pc:sldLayoutMkLst>
            <pc:docMk/>
            <pc:sldMasterMk cId="941945881" sldId="2147484073"/>
            <pc:sldLayoutMk cId="3733757197" sldId="2147484076"/>
          </pc:sldLayoutMkLst>
        </pc:sldLayoutChg>
        <pc:sldLayoutChg chg="del">
          <pc:chgData name="Michael Vermeersch" userId="85409873-b96b-4669-be5a-63f793ebbda5" providerId="ADAL" clId="{093D8CA4-BE60-4096-8845-228E1FAF26E3}" dt="2021-05-25T12:02:15.651" v="57" actId="47"/>
          <pc:sldLayoutMkLst>
            <pc:docMk/>
            <pc:sldMasterMk cId="941945881" sldId="2147484073"/>
            <pc:sldLayoutMk cId="2122361984" sldId="2147484077"/>
          </pc:sldLayoutMkLst>
        </pc:sldLayoutChg>
        <pc:sldLayoutChg chg="del">
          <pc:chgData name="Michael Vermeersch" userId="85409873-b96b-4669-be5a-63f793ebbda5" providerId="ADAL" clId="{093D8CA4-BE60-4096-8845-228E1FAF26E3}" dt="2021-05-25T12:02:15.651" v="57" actId="47"/>
          <pc:sldLayoutMkLst>
            <pc:docMk/>
            <pc:sldMasterMk cId="941945881" sldId="2147484073"/>
            <pc:sldLayoutMk cId="1075415309" sldId="2147484078"/>
          </pc:sldLayoutMkLst>
        </pc:sldLayoutChg>
        <pc:sldLayoutChg chg="del">
          <pc:chgData name="Michael Vermeersch" userId="85409873-b96b-4669-be5a-63f793ebbda5" providerId="ADAL" clId="{093D8CA4-BE60-4096-8845-228E1FAF26E3}" dt="2021-05-25T12:02:15.651" v="57" actId="47"/>
          <pc:sldLayoutMkLst>
            <pc:docMk/>
            <pc:sldMasterMk cId="941945881" sldId="2147484073"/>
            <pc:sldLayoutMk cId="3890670940" sldId="2147484079"/>
          </pc:sldLayoutMkLst>
        </pc:sldLayoutChg>
        <pc:sldLayoutChg chg="del">
          <pc:chgData name="Michael Vermeersch" userId="85409873-b96b-4669-be5a-63f793ebbda5" providerId="ADAL" clId="{093D8CA4-BE60-4096-8845-228E1FAF26E3}" dt="2021-05-25T12:02:15.651" v="57" actId="47"/>
          <pc:sldLayoutMkLst>
            <pc:docMk/>
            <pc:sldMasterMk cId="941945881" sldId="2147484073"/>
            <pc:sldLayoutMk cId="1959550538" sldId="2147484080"/>
          </pc:sldLayoutMkLst>
        </pc:sldLayoutChg>
        <pc:sldLayoutChg chg="del">
          <pc:chgData name="Michael Vermeersch" userId="85409873-b96b-4669-be5a-63f793ebbda5" providerId="ADAL" clId="{093D8CA4-BE60-4096-8845-228E1FAF26E3}" dt="2021-05-25T12:02:15.651" v="57" actId="47"/>
          <pc:sldLayoutMkLst>
            <pc:docMk/>
            <pc:sldMasterMk cId="941945881" sldId="2147484073"/>
            <pc:sldLayoutMk cId="3328115200" sldId="2147484081"/>
          </pc:sldLayoutMkLst>
        </pc:sldLayoutChg>
        <pc:sldLayoutChg chg="del">
          <pc:chgData name="Michael Vermeersch" userId="85409873-b96b-4669-be5a-63f793ebbda5" providerId="ADAL" clId="{093D8CA4-BE60-4096-8845-228E1FAF26E3}" dt="2021-05-25T12:02:15.651" v="57" actId="47"/>
          <pc:sldLayoutMkLst>
            <pc:docMk/>
            <pc:sldMasterMk cId="941945881" sldId="2147484073"/>
            <pc:sldLayoutMk cId="1886327008" sldId="2147484082"/>
          </pc:sldLayoutMkLst>
        </pc:sldLayoutChg>
        <pc:sldLayoutChg chg="del">
          <pc:chgData name="Michael Vermeersch" userId="85409873-b96b-4669-be5a-63f793ebbda5" providerId="ADAL" clId="{093D8CA4-BE60-4096-8845-228E1FAF26E3}" dt="2021-05-25T12:02:15.651" v="57" actId="47"/>
          <pc:sldLayoutMkLst>
            <pc:docMk/>
            <pc:sldMasterMk cId="941945881" sldId="2147484073"/>
            <pc:sldLayoutMk cId="317508883" sldId="2147484083"/>
          </pc:sldLayoutMkLst>
        </pc:sldLayoutChg>
        <pc:sldLayoutChg chg="del">
          <pc:chgData name="Michael Vermeersch" userId="85409873-b96b-4669-be5a-63f793ebbda5" providerId="ADAL" clId="{093D8CA4-BE60-4096-8845-228E1FAF26E3}" dt="2021-05-25T12:02:15.651" v="57" actId="47"/>
          <pc:sldLayoutMkLst>
            <pc:docMk/>
            <pc:sldMasterMk cId="941945881" sldId="2147484073"/>
            <pc:sldLayoutMk cId="646100386" sldId="2147484084"/>
          </pc:sldLayoutMkLst>
        </pc:sldLayoutChg>
        <pc:sldLayoutChg chg="del">
          <pc:chgData name="Michael Vermeersch" userId="85409873-b96b-4669-be5a-63f793ebbda5" providerId="ADAL" clId="{093D8CA4-BE60-4096-8845-228E1FAF26E3}" dt="2021-05-25T12:02:15.651" v="57" actId="47"/>
          <pc:sldLayoutMkLst>
            <pc:docMk/>
            <pc:sldMasterMk cId="941945881" sldId="2147484073"/>
            <pc:sldLayoutMk cId="3300598392" sldId="2147484085"/>
          </pc:sldLayoutMkLst>
        </pc:sldLayoutChg>
      </pc:sldMasterChg>
      <pc:sldMasterChg chg="del delSldLayout">
        <pc:chgData name="Michael Vermeersch" userId="85409873-b96b-4669-be5a-63f793ebbda5" providerId="ADAL" clId="{093D8CA4-BE60-4096-8845-228E1FAF26E3}" dt="2021-05-25T12:02:15.651" v="57" actId="47"/>
        <pc:sldMasterMkLst>
          <pc:docMk/>
          <pc:sldMasterMk cId="2722203643" sldId="2147484127"/>
        </pc:sldMasterMkLst>
        <pc:sldLayoutChg chg="del">
          <pc:chgData name="Michael Vermeersch" userId="85409873-b96b-4669-be5a-63f793ebbda5" providerId="ADAL" clId="{093D8CA4-BE60-4096-8845-228E1FAF26E3}" dt="2021-05-25T12:02:15.651" v="57" actId="47"/>
          <pc:sldLayoutMkLst>
            <pc:docMk/>
            <pc:sldMasterMk cId="2722203643" sldId="2147484127"/>
            <pc:sldLayoutMk cId="42075574" sldId="2147484128"/>
          </pc:sldLayoutMkLst>
        </pc:sldLayoutChg>
        <pc:sldLayoutChg chg="del">
          <pc:chgData name="Michael Vermeersch" userId="85409873-b96b-4669-be5a-63f793ebbda5" providerId="ADAL" clId="{093D8CA4-BE60-4096-8845-228E1FAF26E3}" dt="2021-05-25T12:02:15.651" v="57" actId="47"/>
          <pc:sldLayoutMkLst>
            <pc:docMk/>
            <pc:sldMasterMk cId="2722203643" sldId="2147484127"/>
            <pc:sldLayoutMk cId="1794482875" sldId="2147484129"/>
          </pc:sldLayoutMkLst>
        </pc:sldLayoutChg>
        <pc:sldLayoutChg chg="del">
          <pc:chgData name="Michael Vermeersch" userId="85409873-b96b-4669-be5a-63f793ebbda5" providerId="ADAL" clId="{093D8CA4-BE60-4096-8845-228E1FAF26E3}" dt="2021-05-25T12:02:15.651" v="57" actId="47"/>
          <pc:sldLayoutMkLst>
            <pc:docMk/>
            <pc:sldMasterMk cId="2722203643" sldId="2147484127"/>
            <pc:sldLayoutMk cId="901107323" sldId="2147484130"/>
          </pc:sldLayoutMkLst>
        </pc:sldLayoutChg>
        <pc:sldLayoutChg chg="del">
          <pc:chgData name="Michael Vermeersch" userId="85409873-b96b-4669-be5a-63f793ebbda5" providerId="ADAL" clId="{093D8CA4-BE60-4096-8845-228E1FAF26E3}" dt="2021-05-25T12:02:15.651" v="57" actId="47"/>
          <pc:sldLayoutMkLst>
            <pc:docMk/>
            <pc:sldMasterMk cId="2722203643" sldId="2147484127"/>
            <pc:sldLayoutMk cId="3639124477" sldId="2147484131"/>
          </pc:sldLayoutMkLst>
        </pc:sldLayoutChg>
        <pc:sldLayoutChg chg="del">
          <pc:chgData name="Michael Vermeersch" userId="85409873-b96b-4669-be5a-63f793ebbda5" providerId="ADAL" clId="{093D8CA4-BE60-4096-8845-228E1FAF26E3}" dt="2021-05-25T12:02:15.651" v="57" actId="47"/>
          <pc:sldLayoutMkLst>
            <pc:docMk/>
            <pc:sldMasterMk cId="2722203643" sldId="2147484127"/>
            <pc:sldLayoutMk cId="2840933776" sldId="2147484132"/>
          </pc:sldLayoutMkLst>
        </pc:sldLayoutChg>
        <pc:sldLayoutChg chg="del">
          <pc:chgData name="Michael Vermeersch" userId="85409873-b96b-4669-be5a-63f793ebbda5" providerId="ADAL" clId="{093D8CA4-BE60-4096-8845-228E1FAF26E3}" dt="2021-05-25T12:02:15.651" v="57" actId="47"/>
          <pc:sldLayoutMkLst>
            <pc:docMk/>
            <pc:sldMasterMk cId="2722203643" sldId="2147484127"/>
            <pc:sldLayoutMk cId="2990450033" sldId="2147484133"/>
          </pc:sldLayoutMkLst>
        </pc:sldLayoutChg>
        <pc:sldLayoutChg chg="del">
          <pc:chgData name="Michael Vermeersch" userId="85409873-b96b-4669-be5a-63f793ebbda5" providerId="ADAL" clId="{093D8CA4-BE60-4096-8845-228E1FAF26E3}" dt="2021-05-25T12:02:15.651" v="57" actId="47"/>
          <pc:sldLayoutMkLst>
            <pc:docMk/>
            <pc:sldMasterMk cId="2722203643" sldId="2147484127"/>
            <pc:sldLayoutMk cId="3635653073" sldId="2147484134"/>
          </pc:sldLayoutMkLst>
        </pc:sldLayoutChg>
        <pc:sldLayoutChg chg="del">
          <pc:chgData name="Michael Vermeersch" userId="85409873-b96b-4669-be5a-63f793ebbda5" providerId="ADAL" clId="{093D8CA4-BE60-4096-8845-228E1FAF26E3}" dt="2021-05-25T12:02:15.651" v="57" actId="47"/>
          <pc:sldLayoutMkLst>
            <pc:docMk/>
            <pc:sldMasterMk cId="2722203643" sldId="2147484127"/>
            <pc:sldLayoutMk cId="883311901" sldId="2147484135"/>
          </pc:sldLayoutMkLst>
        </pc:sldLayoutChg>
        <pc:sldLayoutChg chg="del">
          <pc:chgData name="Michael Vermeersch" userId="85409873-b96b-4669-be5a-63f793ebbda5" providerId="ADAL" clId="{093D8CA4-BE60-4096-8845-228E1FAF26E3}" dt="2021-05-25T12:02:15.651" v="57" actId="47"/>
          <pc:sldLayoutMkLst>
            <pc:docMk/>
            <pc:sldMasterMk cId="2722203643" sldId="2147484127"/>
            <pc:sldLayoutMk cId="3730238902" sldId="2147484136"/>
          </pc:sldLayoutMkLst>
        </pc:sldLayoutChg>
        <pc:sldLayoutChg chg="del">
          <pc:chgData name="Michael Vermeersch" userId="85409873-b96b-4669-be5a-63f793ebbda5" providerId="ADAL" clId="{093D8CA4-BE60-4096-8845-228E1FAF26E3}" dt="2021-05-25T12:02:15.651" v="57" actId="47"/>
          <pc:sldLayoutMkLst>
            <pc:docMk/>
            <pc:sldMasterMk cId="2722203643" sldId="2147484127"/>
            <pc:sldLayoutMk cId="2365324030" sldId="2147484137"/>
          </pc:sldLayoutMkLst>
        </pc:sldLayoutChg>
        <pc:sldLayoutChg chg="del">
          <pc:chgData name="Michael Vermeersch" userId="85409873-b96b-4669-be5a-63f793ebbda5" providerId="ADAL" clId="{093D8CA4-BE60-4096-8845-228E1FAF26E3}" dt="2021-05-25T12:02:15.651" v="57" actId="47"/>
          <pc:sldLayoutMkLst>
            <pc:docMk/>
            <pc:sldMasterMk cId="2722203643" sldId="2147484127"/>
            <pc:sldLayoutMk cId="3350723579" sldId="2147484138"/>
          </pc:sldLayoutMkLst>
        </pc:sldLayoutChg>
        <pc:sldLayoutChg chg="del">
          <pc:chgData name="Michael Vermeersch" userId="85409873-b96b-4669-be5a-63f793ebbda5" providerId="ADAL" clId="{093D8CA4-BE60-4096-8845-228E1FAF26E3}" dt="2021-05-25T12:02:15.651" v="57" actId="47"/>
          <pc:sldLayoutMkLst>
            <pc:docMk/>
            <pc:sldMasterMk cId="2722203643" sldId="2147484127"/>
            <pc:sldLayoutMk cId="1529665974" sldId="2147484139"/>
          </pc:sldLayoutMkLst>
        </pc:sldLayoutChg>
        <pc:sldLayoutChg chg="del">
          <pc:chgData name="Michael Vermeersch" userId="85409873-b96b-4669-be5a-63f793ebbda5" providerId="ADAL" clId="{093D8CA4-BE60-4096-8845-228E1FAF26E3}" dt="2021-05-25T12:02:15.651" v="57" actId="47"/>
          <pc:sldLayoutMkLst>
            <pc:docMk/>
            <pc:sldMasterMk cId="2722203643" sldId="2147484127"/>
            <pc:sldLayoutMk cId="1453153219" sldId="2147484140"/>
          </pc:sldLayoutMkLst>
        </pc:sldLayoutChg>
        <pc:sldLayoutChg chg="del">
          <pc:chgData name="Michael Vermeersch" userId="85409873-b96b-4669-be5a-63f793ebbda5" providerId="ADAL" clId="{093D8CA4-BE60-4096-8845-228E1FAF26E3}" dt="2021-05-25T12:02:15.651" v="57" actId="47"/>
          <pc:sldLayoutMkLst>
            <pc:docMk/>
            <pc:sldMasterMk cId="2722203643" sldId="2147484127"/>
            <pc:sldLayoutMk cId="2101013799" sldId="2147484141"/>
          </pc:sldLayoutMkLst>
        </pc:sldLayoutChg>
        <pc:sldLayoutChg chg="del">
          <pc:chgData name="Michael Vermeersch" userId="85409873-b96b-4669-be5a-63f793ebbda5" providerId="ADAL" clId="{093D8CA4-BE60-4096-8845-228E1FAF26E3}" dt="2021-05-25T12:02:15.651" v="57" actId="47"/>
          <pc:sldLayoutMkLst>
            <pc:docMk/>
            <pc:sldMasterMk cId="2722203643" sldId="2147484127"/>
            <pc:sldLayoutMk cId="1763038017" sldId="2147484142"/>
          </pc:sldLayoutMkLst>
        </pc:sldLayoutChg>
        <pc:sldLayoutChg chg="del">
          <pc:chgData name="Michael Vermeersch" userId="85409873-b96b-4669-be5a-63f793ebbda5" providerId="ADAL" clId="{093D8CA4-BE60-4096-8845-228E1FAF26E3}" dt="2021-05-25T12:02:15.651" v="57" actId="47"/>
          <pc:sldLayoutMkLst>
            <pc:docMk/>
            <pc:sldMasterMk cId="2722203643" sldId="2147484127"/>
            <pc:sldLayoutMk cId="308425016" sldId="2147484143"/>
          </pc:sldLayoutMkLst>
        </pc:sldLayoutChg>
        <pc:sldLayoutChg chg="del">
          <pc:chgData name="Michael Vermeersch" userId="85409873-b96b-4669-be5a-63f793ebbda5" providerId="ADAL" clId="{093D8CA4-BE60-4096-8845-228E1FAF26E3}" dt="2021-05-25T12:02:15.651" v="57" actId="47"/>
          <pc:sldLayoutMkLst>
            <pc:docMk/>
            <pc:sldMasterMk cId="2722203643" sldId="2147484127"/>
            <pc:sldLayoutMk cId="1047455658" sldId="2147484144"/>
          </pc:sldLayoutMkLst>
        </pc:sldLayoutChg>
        <pc:sldLayoutChg chg="del">
          <pc:chgData name="Michael Vermeersch" userId="85409873-b96b-4669-be5a-63f793ebbda5" providerId="ADAL" clId="{093D8CA4-BE60-4096-8845-228E1FAF26E3}" dt="2021-05-25T12:02:15.651" v="57" actId="47"/>
          <pc:sldLayoutMkLst>
            <pc:docMk/>
            <pc:sldMasterMk cId="2722203643" sldId="2147484127"/>
            <pc:sldLayoutMk cId="2014326289" sldId="2147484145"/>
          </pc:sldLayoutMkLst>
        </pc:sldLayoutChg>
        <pc:sldLayoutChg chg="del">
          <pc:chgData name="Michael Vermeersch" userId="85409873-b96b-4669-be5a-63f793ebbda5" providerId="ADAL" clId="{093D8CA4-BE60-4096-8845-228E1FAF26E3}" dt="2021-05-25T12:02:15.651" v="57" actId="47"/>
          <pc:sldLayoutMkLst>
            <pc:docMk/>
            <pc:sldMasterMk cId="2722203643" sldId="2147484127"/>
            <pc:sldLayoutMk cId="3371425736" sldId="2147484146"/>
          </pc:sldLayoutMkLst>
        </pc:sldLayoutChg>
        <pc:sldLayoutChg chg="del">
          <pc:chgData name="Michael Vermeersch" userId="85409873-b96b-4669-be5a-63f793ebbda5" providerId="ADAL" clId="{093D8CA4-BE60-4096-8845-228E1FAF26E3}" dt="2021-05-25T12:02:15.651" v="57" actId="47"/>
          <pc:sldLayoutMkLst>
            <pc:docMk/>
            <pc:sldMasterMk cId="2722203643" sldId="2147484127"/>
            <pc:sldLayoutMk cId="4089198407" sldId="2147484147"/>
          </pc:sldLayoutMkLst>
        </pc:sldLayoutChg>
        <pc:sldLayoutChg chg="del">
          <pc:chgData name="Michael Vermeersch" userId="85409873-b96b-4669-be5a-63f793ebbda5" providerId="ADAL" clId="{093D8CA4-BE60-4096-8845-228E1FAF26E3}" dt="2021-05-25T12:02:15.651" v="57" actId="47"/>
          <pc:sldLayoutMkLst>
            <pc:docMk/>
            <pc:sldMasterMk cId="2722203643" sldId="2147484127"/>
            <pc:sldLayoutMk cId="1498209953" sldId="2147484148"/>
          </pc:sldLayoutMkLst>
        </pc:sldLayoutChg>
        <pc:sldLayoutChg chg="del">
          <pc:chgData name="Michael Vermeersch" userId="85409873-b96b-4669-be5a-63f793ebbda5" providerId="ADAL" clId="{093D8CA4-BE60-4096-8845-228E1FAF26E3}" dt="2021-05-25T12:02:15.651" v="57" actId="47"/>
          <pc:sldLayoutMkLst>
            <pc:docMk/>
            <pc:sldMasterMk cId="2722203643" sldId="2147484127"/>
            <pc:sldLayoutMk cId="3937333539" sldId="2147484149"/>
          </pc:sldLayoutMkLst>
        </pc:sldLayoutChg>
        <pc:sldLayoutChg chg="del">
          <pc:chgData name="Michael Vermeersch" userId="85409873-b96b-4669-be5a-63f793ebbda5" providerId="ADAL" clId="{093D8CA4-BE60-4096-8845-228E1FAF26E3}" dt="2021-05-25T12:02:15.651" v="57" actId="47"/>
          <pc:sldLayoutMkLst>
            <pc:docMk/>
            <pc:sldMasterMk cId="2722203643" sldId="2147484127"/>
            <pc:sldLayoutMk cId="1241977210" sldId="2147484150"/>
          </pc:sldLayoutMkLst>
        </pc:sldLayoutChg>
      </pc:sldMasterChg>
    </pc:docChg>
  </pc:docChgLst>
  <pc:docChgLst>
    <pc:chgData name="Michael Vermeersch" userId="85409873-b96b-4669-be5a-63f793ebbda5" providerId="ADAL" clId="{955EB41A-C200-4CE6-8CED-0FB9586A8AE4}"/>
    <pc:docChg chg="modSld">
      <pc:chgData name="Michael Vermeersch" userId="85409873-b96b-4669-be5a-63f793ebbda5" providerId="ADAL" clId="{955EB41A-C200-4CE6-8CED-0FB9586A8AE4}" dt="2020-09-26T16:48:27" v="11" actId="20577"/>
      <pc:docMkLst>
        <pc:docMk/>
      </pc:docMkLst>
      <pc:sldChg chg="modSp mod">
        <pc:chgData name="Michael Vermeersch" userId="85409873-b96b-4669-be5a-63f793ebbda5" providerId="ADAL" clId="{955EB41A-C200-4CE6-8CED-0FB9586A8AE4}" dt="2020-09-26T16:48:27" v="11" actId="20577"/>
        <pc:sldMkLst>
          <pc:docMk/>
          <pc:sldMk cId="2148948919" sldId="4459"/>
        </pc:sldMkLst>
        <pc:spChg chg="mod">
          <ac:chgData name="Michael Vermeersch" userId="85409873-b96b-4669-be5a-63f793ebbda5" providerId="ADAL" clId="{955EB41A-C200-4CE6-8CED-0FB9586A8AE4}" dt="2020-09-26T16:48:27" v="11" actId="20577"/>
          <ac:spMkLst>
            <pc:docMk/>
            <pc:sldMk cId="2148948919" sldId="4459"/>
            <ac:spMk id="30" creationId="{F7496B92-B035-40F2-A515-83C8703FDF17}"/>
          </ac:spMkLst>
        </pc:spChg>
      </pc:sldChg>
    </pc:docChg>
  </pc:docChgLst>
  <pc:docChgLst>
    <pc:chgData name="Michael" userId="85409873-b96b-4669-be5a-63f793ebbda5" providerId="ADAL" clId="{9B845934-5E41-4FB1-964A-63DEFC5F11D7}"/>
    <pc:docChg chg="undo redo custSel mod addSld delSld modSld">
      <pc:chgData name="Michael" userId="85409873-b96b-4669-be5a-63f793ebbda5" providerId="ADAL" clId="{9B845934-5E41-4FB1-964A-63DEFC5F11D7}" dt="2020-05-06T18:26:02.615" v="2653" actId="13244"/>
      <pc:docMkLst>
        <pc:docMk/>
      </pc:docMkLst>
      <pc:sldChg chg="modSp add del mod">
        <pc:chgData name="Michael" userId="85409873-b96b-4669-be5a-63f793ebbda5" providerId="ADAL" clId="{9B845934-5E41-4FB1-964A-63DEFC5F11D7}" dt="2020-05-06T10:48:05.880" v="379" actId="47"/>
        <pc:sldMkLst>
          <pc:docMk/>
          <pc:sldMk cId="4127134792" sldId="257"/>
        </pc:sldMkLst>
        <pc:spChg chg="mod">
          <ac:chgData name="Michael" userId="85409873-b96b-4669-be5a-63f793ebbda5" providerId="ADAL" clId="{9B845934-5E41-4FB1-964A-63DEFC5F11D7}" dt="2020-05-06T10:47:56.994" v="378" actId="27636"/>
          <ac:spMkLst>
            <pc:docMk/>
            <pc:sldMk cId="4127134792" sldId="257"/>
            <ac:spMk id="3" creationId="{6AAD66E1-E2B5-49EB-887C-A1D4A791A49A}"/>
          </ac:spMkLst>
        </pc:spChg>
      </pc:sldChg>
      <pc:sldChg chg="modSp add del mod">
        <pc:chgData name="Michael" userId="85409873-b96b-4669-be5a-63f793ebbda5" providerId="ADAL" clId="{9B845934-5E41-4FB1-964A-63DEFC5F11D7}" dt="2020-05-06T16:26:18.052" v="1121" actId="20577"/>
        <pc:sldMkLst>
          <pc:docMk/>
          <pc:sldMk cId="3549290014" sldId="258"/>
        </pc:sldMkLst>
        <pc:spChg chg="mod">
          <ac:chgData name="Michael" userId="85409873-b96b-4669-be5a-63f793ebbda5" providerId="ADAL" clId="{9B845934-5E41-4FB1-964A-63DEFC5F11D7}" dt="2020-05-06T16:26:18.052" v="1121" actId="20577"/>
          <ac:spMkLst>
            <pc:docMk/>
            <pc:sldMk cId="3549290014" sldId="258"/>
            <ac:spMk id="2" creationId="{7693D01E-EC29-4A1F-B1C9-C8C528BC21F1}"/>
          </ac:spMkLst>
        </pc:spChg>
      </pc:sldChg>
      <pc:sldChg chg="addSp delSp modSp add del mod setBg delDesignElem">
        <pc:chgData name="Michael" userId="85409873-b96b-4669-be5a-63f793ebbda5" providerId="ADAL" clId="{9B845934-5E41-4FB1-964A-63DEFC5F11D7}" dt="2020-05-06T16:10:29.273" v="1072" actId="26606"/>
        <pc:sldMkLst>
          <pc:docMk/>
          <pc:sldMk cId="4240220607" sldId="259"/>
        </pc:sldMkLst>
        <pc:spChg chg="mod">
          <ac:chgData name="Michael" userId="85409873-b96b-4669-be5a-63f793ebbda5" providerId="ADAL" clId="{9B845934-5E41-4FB1-964A-63DEFC5F11D7}" dt="2020-05-06T16:10:29.273" v="1072" actId="26606"/>
          <ac:spMkLst>
            <pc:docMk/>
            <pc:sldMk cId="4240220607" sldId="259"/>
            <ac:spMk id="2" creationId="{2A7EE08F-E6D4-4F14-B720-F46E4238D3D5}"/>
          </ac:spMkLst>
        </pc:spChg>
        <pc:spChg chg="add del">
          <ac:chgData name="Michael" userId="85409873-b96b-4669-be5a-63f793ebbda5" providerId="ADAL" clId="{9B845934-5E41-4FB1-964A-63DEFC5F11D7}" dt="2020-05-06T16:10:29.273" v="1072" actId="26606"/>
          <ac:spMkLst>
            <pc:docMk/>
            <pc:sldMk cId="4240220607" sldId="259"/>
            <ac:spMk id="7" creationId="{42A5316D-ED2F-4F89-B4B4-8D9240B1A348}"/>
          </ac:spMkLst>
        </pc:spChg>
        <pc:spChg chg="add del">
          <ac:chgData name="Michael" userId="85409873-b96b-4669-be5a-63f793ebbda5" providerId="ADAL" clId="{9B845934-5E41-4FB1-964A-63DEFC5F11D7}" dt="2020-05-06T16:10:25.511" v="1067" actId="26606"/>
          <ac:spMkLst>
            <pc:docMk/>
            <pc:sldMk cId="4240220607" sldId="259"/>
            <ac:spMk id="12" creationId="{42A5316D-ED2F-4F89-B4B4-8D9240B1A348}"/>
          </ac:spMkLst>
        </pc:spChg>
        <pc:spChg chg="add del">
          <ac:chgData name="Michael" userId="85409873-b96b-4669-be5a-63f793ebbda5" providerId="ADAL" clId="{9B845934-5E41-4FB1-964A-63DEFC5F11D7}" dt="2020-05-06T16:10:20.598" v="1061" actId="26606"/>
          <ac:spMkLst>
            <pc:docMk/>
            <pc:sldMk cId="4240220607" sldId="259"/>
            <ac:spMk id="13" creationId="{257363FD-7E77-4145-9483-331A807ADF0E}"/>
          </ac:spMkLst>
        </pc:spChg>
        <pc:spChg chg="add del">
          <ac:chgData name="Michael" userId="85409873-b96b-4669-be5a-63f793ebbda5" providerId="ADAL" clId="{9B845934-5E41-4FB1-964A-63DEFC5F11D7}" dt="2020-05-06T16:10:14.383" v="1057" actId="26606"/>
          <ac:spMkLst>
            <pc:docMk/>
            <pc:sldMk cId="4240220607" sldId="259"/>
            <ac:spMk id="14" creationId="{3A5B4632-C963-4296-86F0-79AA9EA5AE98}"/>
          </ac:spMkLst>
        </pc:spChg>
        <pc:spChg chg="add del">
          <ac:chgData name="Michael" userId="85409873-b96b-4669-be5a-63f793ebbda5" providerId="ADAL" clId="{9B845934-5E41-4FB1-964A-63DEFC5F11D7}" dt="2020-05-06T16:10:17.056" v="1059" actId="26606"/>
          <ac:spMkLst>
            <pc:docMk/>
            <pc:sldMk cId="4240220607" sldId="259"/>
            <ac:spMk id="15" creationId="{6A84B152-3496-4C52-AF08-97AFFC09DD2C}"/>
          </ac:spMkLst>
        </pc:spChg>
        <pc:spChg chg="add del">
          <ac:chgData name="Michael" userId="85409873-b96b-4669-be5a-63f793ebbda5" providerId="ADAL" clId="{9B845934-5E41-4FB1-964A-63DEFC5F11D7}" dt="2020-05-06T16:10:17.056" v="1059" actId="26606"/>
          <ac:spMkLst>
            <pc:docMk/>
            <pc:sldMk cId="4240220607" sldId="259"/>
            <ac:spMk id="17" creationId="{6B2ADB95-0FA3-4BD7-A8AC-89D014A83E5B}"/>
          </ac:spMkLst>
        </pc:spChg>
        <pc:spChg chg="add del">
          <ac:chgData name="Michael" userId="85409873-b96b-4669-be5a-63f793ebbda5" providerId="ADAL" clId="{9B845934-5E41-4FB1-964A-63DEFC5F11D7}" dt="2020-05-06T16:10:17.056" v="1059" actId="26606"/>
          <ac:spMkLst>
            <pc:docMk/>
            <pc:sldMk cId="4240220607" sldId="259"/>
            <ac:spMk id="19" creationId="{C924DBCE-E731-4B22-8181-A39C1D86276C}"/>
          </ac:spMkLst>
        </pc:spChg>
        <pc:spChg chg="add del">
          <ac:chgData name="Michael" userId="85409873-b96b-4669-be5a-63f793ebbda5" providerId="ADAL" clId="{9B845934-5E41-4FB1-964A-63DEFC5F11D7}" dt="2020-05-06T16:10:17.056" v="1059" actId="26606"/>
          <ac:spMkLst>
            <pc:docMk/>
            <pc:sldMk cId="4240220607" sldId="259"/>
            <ac:spMk id="21" creationId="{4CBF9756-6AC8-4C65-84DF-56FBFFA1D873}"/>
          </ac:spMkLst>
        </pc:spChg>
        <pc:spChg chg="add del">
          <ac:chgData name="Michael" userId="85409873-b96b-4669-be5a-63f793ebbda5" providerId="ADAL" clId="{9B845934-5E41-4FB1-964A-63DEFC5F11D7}" dt="2020-05-06T16:10:17.056" v="1059" actId="26606"/>
          <ac:spMkLst>
            <pc:docMk/>
            <pc:sldMk cId="4240220607" sldId="259"/>
            <ac:spMk id="23" creationId="{2D385988-EAAF-4C27-AF8A-2BFBECAF3D4F}"/>
          </ac:spMkLst>
        </pc:spChg>
        <pc:spChg chg="add del">
          <ac:chgData name="Michael" userId="85409873-b96b-4669-be5a-63f793ebbda5" providerId="ADAL" clId="{9B845934-5E41-4FB1-964A-63DEFC5F11D7}" dt="2020-05-06T16:10:17.056" v="1059" actId="26606"/>
          <ac:spMkLst>
            <pc:docMk/>
            <pc:sldMk cId="4240220607" sldId="259"/>
            <ac:spMk id="27" creationId="{B621D332-7329-4994-8836-C429A51B7549}"/>
          </ac:spMkLst>
        </pc:spChg>
        <pc:spChg chg="add del">
          <ac:chgData name="Michael" userId="85409873-b96b-4669-be5a-63f793ebbda5" providerId="ADAL" clId="{9B845934-5E41-4FB1-964A-63DEFC5F11D7}" dt="2020-05-06T16:10:17.056" v="1059" actId="26606"/>
          <ac:spMkLst>
            <pc:docMk/>
            <pc:sldMk cId="4240220607" sldId="259"/>
            <ac:spMk id="29" creationId="{2D20F754-35A9-4508-BE3C-C59996D1437B}"/>
          </ac:spMkLst>
        </pc:spChg>
        <pc:spChg chg="add del">
          <ac:chgData name="Michael" userId="85409873-b96b-4669-be5a-63f793ebbda5" providerId="ADAL" clId="{9B845934-5E41-4FB1-964A-63DEFC5F11D7}" dt="2020-05-06T16:10:21.217" v="1063" actId="26606"/>
          <ac:spMkLst>
            <pc:docMk/>
            <pc:sldMk cId="4240220607" sldId="259"/>
            <ac:spMk id="34" creationId="{46C2E80F-49A6-4372-B103-219D417A55ED}"/>
          </ac:spMkLst>
        </pc:spChg>
        <pc:spChg chg="add del">
          <ac:chgData name="Michael" userId="85409873-b96b-4669-be5a-63f793ebbda5" providerId="ADAL" clId="{9B845934-5E41-4FB1-964A-63DEFC5F11D7}" dt="2020-05-06T16:10:27.091" v="1069" actId="26606"/>
          <ac:spMkLst>
            <pc:docMk/>
            <pc:sldMk cId="4240220607" sldId="259"/>
            <ac:spMk id="41" creationId="{46C2E80F-49A6-4372-B103-219D417A55ED}"/>
          </ac:spMkLst>
        </pc:spChg>
        <pc:spChg chg="add del">
          <ac:chgData name="Michael" userId="85409873-b96b-4669-be5a-63f793ebbda5" providerId="ADAL" clId="{9B845934-5E41-4FB1-964A-63DEFC5F11D7}" dt="2020-05-06T16:10:29.220" v="1071" actId="26606"/>
          <ac:spMkLst>
            <pc:docMk/>
            <pc:sldMk cId="4240220607" sldId="259"/>
            <ac:spMk id="44" creationId="{42A5316D-ED2F-4F89-B4B4-8D9240B1A348}"/>
          </ac:spMkLst>
        </pc:spChg>
        <pc:spChg chg="add">
          <ac:chgData name="Michael" userId="85409873-b96b-4669-be5a-63f793ebbda5" providerId="ADAL" clId="{9B845934-5E41-4FB1-964A-63DEFC5F11D7}" dt="2020-05-06T16:10:29.273" v="1072" actId="26606"/>
          <ac:spMkLst>
            <pc:docMk/>
            <pc:sldMk cId="4240220607" sldId="259"/>
            <ac:spMk id="47" creationId="{3A5B4632-C963-4296-86F0-79AA9EA5AE98}"/>
          </ac:spMkLst>
        </pc:spChg>
        <pc:graphicFrameChg chg="add del">
          <ac:chgData name="Michael" userId="85409873-b96b-4669-be5a-63f793ebbda5" providerId="ADAL" clId="{9B845934-5E41-4FB1-964A-63DEFC5F11D7}" dt="2020-05-06T16:10:29.273" v="1072" actId="26606"/>
          <ac:graphicFrameMkLst>
            <pc:docMk/>
            <pc:sldMk cId="4240220607" sldId="259"/>
            <ac:graphicFrameMk id="5" creationId="{FD1E3717-8959-4302-A7BB-F526E7F266FC}"/>
          </ac:graphicFrameMkLst>
        </pc:graphicFrameChg>
        <pc:graphicFrameChg chg="add del">
          <ac:chgData name="Michael" userId="85409873-b96b-4669-be5a-63f793ebbda5" providerId="ADAL" clId="{9B845934-5E41-4FB1-964A-63DEFC5F11D7}" dt="2020-05-06T16:10:14.383" v="1057" actId="26606"/>
          <ac:graphicFrameMkLst>
            <pc:docMk/>
            <pc:sldMk cId="4240220607" sldId="259"/>
            <ac:graphicFrameMk id="9" creationId="{88344399-9819-4019-A59B-237697A20FAF}"/>
          </ac:graphicFrameMkLst>
        </pc:graphicFrameChg>
        <pc:graphicFrameChg chg="add del">
          <ac:chgData name="Michael" userId="85409873-b96b-4669-be5a-63f793ebbda5" providerId="ADAL" clId="{9B845934-5E41-4FB1-964A-63DEFC5F11D7}" dt="2020-05-06T16:10:17.056" v="1059" actId="26606"/>
          <ac:graphicFrameMkLst>
            <pc:docMk/>
            <pc:sldMk cId="4240220607" sldId="259"/>
            <ac:graphicFrameMk id="16" creationId="{11A2F68D-E17E-4A93-AD70-428036913B0A}"/>
          </ac:graphicFrameMkLst>
        </pc:graphicFrameChg>
        <pc:graphicFrameChg chg="add del">
          <ac:chgData name="Michael" userId="85409873-b96b-4669-be5a-63f793ebbda5" providerId="ADAL" clId="{9B845934-5E41-4FB1-964A-63DEFC5F11D7}" dt="2020-05-06T16:10:20.598" v="1061" actId="26606"/>
          <ac:graphicFrameMkLst>
            <pc:docMk/>
            <pc:sldMk cId="4240220607" sldId="259"/>
            <ac:graphicFrameMk id="32" creationId="{FD1E3717-8959-4302-A7BB-F526E7F266FC}"/>
          </ac:graphicFrameMkLst>
        </pc:graphicFrameChg>
        <pc:graphicFrameChg chg="add del">
          <ac:chgData name="Michael" userId="85409873-b96b-4669-be5a-63f793ebbda5" providerId="ADAL" clId="{9B845934-5E41-4FB1-964A-63DEFC5F11D7}" dt="2020-05-06T16:10:21.217" v="1063" actId="26606"/>
          <ac:graphicFrameMkLst>
            <pc:docMk/>
            <pc:sldMk cId="4240220607" sldId="259"/>
            <ac:graphicFrameMk id="35" creationId="{CA2B4640-C4D7-4171-824C-EEAA02493F12}"/>
          </ac:graphicFrameMkLst>
        </pc:graphicFrameChg>
        <pc:graphicFrameChg chg="add del">
          <ac:chgData name="Michael" userId="85409873-b96b-4669-be5a-63f793ebbda5" providerId="ADAL" clId="{9B845934-5E41-4FB1-964A-63DEFC5F11D7}" dt="2020-05-06T16:10:24.750" v="1065" actId="26606"/>
          <ac:graphicFrameMkLst>
            <pc:docMk/>
            <pc:sldMk cId="4240220607" sldId="259"/>
            <ac:graphicFrameMk id="37" creationId="{FD1E3717-8959-4302-A7BB-F526E7F266FC}"/>
          </ac:graphicFrameMkLst>
        </pc:graphicFrameChg>
        <pc:graphicFrameChg chg="add del">
          <ac:chgData name="Michael" userId="85409873-b96b-4669-be5a-63f793ebbda5" providerId="ADAL" clId="{9B845934-5E41-4FB1-964A-63DEFC5F11D7}" dt="2020-05-06T16:10:25.511" v="1067" actId="26606"/>
          <ac:graphicFrameMkLst>
            <pc:docMk/>
            <pc:sldMk cId="4240220607" sldId="259"/>
            <ac:graphicFrameMk id="39" creationId="{FD1E3717-8959-4302-A7BB-F526E7F266FC}"/>
          </ac:graphicFrameMkLst>
        </pc:graphicFrameChg>
        <pc:graphicFrameChg chg="add del">
          <ac:chgData name="Michael" userId="85409873-b96b-4669-be5a-63f793ebbda5" providerId="ADAL" clId="{9B845934-5E41-4FB1-964A-63DEFC5F11D7}" dt="2020-05-06T16:10:27.091" v="1069" actId="26606"/>
          <ac:graphicFrameMkLst>
            <pc:docMk/>
            <pc:sldMk cId="4240220607" sldId="259"/>
            <ac:graphicFrameMk id="42" creationId="{CA2B4640-C4D7-4171-824C-EEAA02493F12}"/>
          </ac:graphicFrameMkLst>
        </pc:graphicFrameChg>
        <pc:graphicFrameChg chg="add del">
          <ac:chgData name="Michael" userId="85409873-b96b-4669-be5a-63f793ebbda5" providerId="ADAL" clId="{9B845934-5E41-4FB1-964A-63DEFC5F11D7}" dt="2020-05-06T16:10:29.220" v="1071" actId="26606"/>
          <ac:graphicFrameMkLst>
            <pc:docMk/>
            <pc:sldMk cId="4240220607" sldId="259"/>
            <ac:graphicFrameMk id="45" creationId="{FD1E3717-8959-4302-A7BB-F526E7F266FC}"/>
          </ac:graphicFrameMkLst>
        </pc:graphicFrameChg>
        <pc:graphicFrameChg chg="add">
          <ac:chgData name="Michael" userId="85409873-b96b-4669-be5a-63f793ebbda5" providerId="ADAL" clId="{9B845934-5E41-4FB1-964A-63DEFC5F11D7}" dt="2020-05-06T16:10:29.273" v="1072" actId="26606"/>
          <ac:graphicFrameMkLst>
            <pc:docMk/>
            <pc:sldMk cId="4240220607" sldId="259"/>
            <ac:graphicFrameMk id="48" creationId="{FD1E3717-8959-4302-A7BB-F526E7F266FC}"/>
          </ac:graphicFrameMkLst>
        </pc:graphicFrameChg>
        <pc:picChg chg="add del">
          <ac:chgData name="Michael" userId="85409873-b96b-4669-be5a-63f793ebbda5" providerId="ADAL" clId="{9B845934-5E41-4FB1-964A-63DEFC5F11D7}" dt="2020-05-06T16:10:17.056" v="1059" actId="26606"/>
          <ac:picMkLst>
            <pc:docMk/>
            <pc:sldMk cId="4240220607" sldId="259"/>
            <ac:picMk id="11" creationId="{A8CAA59B-EF04-44DB-89E6-A05B03410294}"/>
          </ac:picMkLst>
        </pc:picChg>
        <pc:picChg chg="add del">
          <ac:chgData name="Michael" userId="85409873-b96b-4669-be5a-63f793ebbda5" providerId="ADAL" clId="{9B845934-5E41-4FB1-964A-63DEFC5F11D7}" dt="2020-05-06T16:10:20.598" v="1061" actId="26606"/>
          <ac:picMkLst>
            <pc:docMk/>
            <pc:sldMk cId="4240220607" sldId="259"/>
            <ac:picMk id="31" creationId="{52DB5236-36D1-4F92-8D01-0C5733A1C504}"/>
          </ac:picMkLst>
        </pc:picChg>
        <pc:cxnChg chg="add del">
          <ac:chgData name="Michael" userId="85409873-b96b-4669-be5a-63f793ebbda5" providerId="ADAL" clId="{9B845934-5E41-4FB1-964A-63DEFC5F11D7}" dt="2020-05-06T16:10:17.056" v="1059" actId="26606"/>
          <ac:cxnSpMkLst>
            <pc:docMk/>
            <pc:sldMk cId="4240220607" sldId="259"/>
            <ac:cxnSpMk id="25" creationId="{43621FD4-D14D-45D5-9A57-9A2DE5EA59C0}"/>
          </ac:cxnSpMkLst>
        </pc:cxnChg>
      </pc:sldChg>
      <pc:sldChg chg="modSp add del mod">
        <pc:chgData name="Michael" userId="85409873-b96b-4669-be5a-63f793ebbda5" providerId="ADAL" clId="{9B845934-5E41-4FB1-964A-63DEFC5F11D7}" dt="2020-05-06T16:11:32.099" v="1077"/>
        <pc:sldMkLst>
          <pc:docMk/>
          <pc:sldMk cId="114747738" sldId="261"/>
        </pc:sldMkLst>
        <pc:spChg chg="mod">
          <ac:chgData name="Michael" userId="85409873-b96b-4669-be5a-63f793ebbda5" providerId="ADAL" clId="{9B845934-5E41-4FB1-964A-63DEFC5F11D7}" dt="2020-05-06T16:11:32.073" v="1076"/>
          <ac:spMkLst>
            <pc:docMk/>
            <pc:sldMk cId="114747738" sldId="261"/>
            <ac:spMk id="3" creationId="{6AAD66E1-E2B5-49EB-887C-A1D4A791A49A}"/>
          </ac:spMkLst>
        </pc:spChg>
      </pc:sldChg>
      <pc:sldChg chg="addSp delSp add del setBg delDesignElem">
        <pc:chgData name="Michael" userId="85409873-b96b-4669-be5a-63f793ebbda5" providerId="ADAL" clId="{9B845934-5E41-4FB1-964A-63DEFC5F11D7}" dt="2020-05-06T10:51:49.006" v="500" actId="47"/>
        <pc:sldMkLst>
          <pc:docMk/>
          <pc:sldMk cId="4203562053" sldId="263"/>
        </pc:sldMkLst>
        <pc:spChg chg="add del">
          <ac:chgData name="Michael" userId="85409873-b96b-4669-be5a-63f793ebbda5" providerId="ADAL" clId="{9B845934-5E41-4FB1-964A-63DEFC5F11D7}" dt="2020-05-06T10:48:44.733" v="382"/>
          <ac:spMkLst>
            <pc:docMk/>
            <pc:sldMk cId="4203562053" sldId="263"/>
            <ac:spMk id="10" creationId="{46C2E80F-49A6-4372-B103-219D417A55ED}"/>
          </ac:spMkLst>
        </pc:spChg>
      </pc:sldChg>
      <pc:sldChg chg="addSp delSp add del setBg delDesignElem">
        <pc:chgData name="Michael" userId="85409873-b96b-4669-be5a-63f793ebbda5" providerId="ADAL" clId="{9B845934-5E41-4FB1-964A-63DEFC5F11D7}" dt="2020-05-06T17:56:25.793" v="1813"/>
        <pc:sldMkLst>
          <pc:docMk/>
          <pc:sldMk cId="2475992504" sldId="289"/>
        </pc:sldMkLst>
        <pc:spChg chg="add del">
          <ac:chgData name="Michael" userId="85409873-b96b-4669-be5a-63f793ebbda5" providerId="ADAL" clId="{9B845934-5E41-4FB1-964A-63DEFC5F11D7}" dt="2020-05-06T17:56:25.774" v="1812"/>
          <ac:spMkLst>
            <pc:docMk/>
            <pc:sldMk cId="2475992504" sldId="289"/>
            <ac:spMk id="43" creationId="{F6E384F5-137A-40B1-97F0-694CC6ECD59C}"/>
          </ac:spMkLst>
        </pc:spChg>
        <pc:spChg chg="add del">
          <ac:chgData name="Michael" userId="85409873-b96b-4669-be5a-63f793ebbda5" providerId="ADAL" clId="{9B845934-5E41-4FB1-964A-63DEFC5F11D7}" dt="2020-05-06T17:56:25.774" v="1812"/>
          <ac:spMkLst>
            <pc:docMk/>
            <pc:sldMk cId="2475992504" sldId="289"/>
            <ac:spMk id="44" creationId="{9DBC4630-03DA-474F-BBCB-BA3AE6B317A4}"/>
          </ac:spMkLst>
        </pc:spChg>
        <pc:spChg chg="add del">
          <ac:chgData name="Michael" userId="85409873-b96b-4669-be5a-63f793ebbda5" providerId="ADAL" clId="{9B845934-5E41-4FB1-964A-63DEFC5F11D7}" dt="2020-05-06T17:56:25.774" v="1812"/>
          <ac:spMkLst>
            <pc:docMk/>
            <pc:sldMk cId="2475992504" sldId="289"/>
            <ac:spMk id="45" creationId="{78418A25-6EAC-4140-BFE6-284E1925B5EE}"/>
          </ac:spMkLst>
        </pc:spChg>
        <pc:spChg chg="add del">
          <ac:chgData name="Michael" userId="85409873-b96b-4669-be5a-63f793ebbda5" providerId="ADAL" clId="{9B845934-5E41-4FB1-964A-63DEFC5F11D7}" dt="2020-05-06T17:56:25.774" v="1812"/>
          <ac:spMkLst>
            <pc:docMk/>
            <pc:sldMk cId="2475992504" sldId="289"/>
            <ac:spMk id="46" creationId="{C20267F5-D4E6-477A-A590-81F2ABD1B862}"/>
          </ac:spMkLst>
        </pc:spChg>
        <pc:spChg chg="add del">
          <ac:chgData name="Michael" userId="85409873-b96b-4669-be5a-63f793ebbda5" providerId="ADAL" clId="{9B845934-5E41-4FB1-964A-63DEFC5F11D7}" dt="2020-05-06T17:56:25.774" v="1812"/>
          <ac:spMkLst>
            <pc:docMk/>
            <pc:sldMk cId="2475992504" sldId="289"/>
            <ac:spMk id="47" creationId="{6B9D64DB-4D5C-4A91-B45F-F301E3174F9F}"/>
          </ac:spMkLst>
        </pc:spChg>
        <pc:spChg chg="add del">
          <ac:chgData name="Michael" userId="85409873-b96b-4669-be5a-63f793ebbda5" providerId="ADAL" clId="{9B845934-5E41-4FB1-964A-63DEFC5F11D7}" dt="2020-05-06T17:56:25.774" v="1812"/>
          <ac:spMkLst>
            <pc:docMk/>
            <pc:sldMk cId="2475992504" sldId="289"/>
            <ac:spMk id="48" creationId="{CB14CE1B-4BC5-4EF2-BE3D-05E4F580B3DB}"/>
          </ac:spMkLst>
        </pc:spChg>
      </pc:sldChg>
      <pc:sldChg chg="delSp modSp add del mod modTransition setBg">
        <pc:chgData name="Michael" userId="85409873-b96b-4669-be5a-63f793ebbda5" providerId="ADAL" clId="{9B845934-5E41-4FB1-964A-63DEFC5F11D7}" dt="2020-05-06T18:06:24.264" v="2052" actId="47"/>
        <pc:sldMkLst>
          <pc:docMk/>
          <pc:sldMk cId="3510222836" sldId="333"/>
        </pc:sldMkLst>
        <pc:spChg chg="mod">
          <ac:chgData name="Michael" userId="85409873-b96b-4669-be5a-63f793ebbda5" providerId="ADAL" clId="{9B845934-5E41-4FB1-964A-63DEFC5F11D7}" dt="2020-05-06T18:05:27.127" v="2049"/>
          <ac:spMkLst>
            <pc:docMk/>
            <pc:sldMk cId="3510222836" sldId="333"/>
            <ac:spMk id="4" creationId="{F271B73E-E545-436C-9D7D-9E16DF230B02}"/>
          </ac:spMkLst>
        </pc:spChg>
        <pc:picChg chg="del">
          <ac:chgData name="Michael" userId="85409873-b96b-4669-be5a-63f793ebbda5" providerId="ADAL" clId="{9B845934-5E41-4FB1-964A-63DEFC5F11D7}" dt="2020-05-06T18:05:42.123" v="2050" actId="478"/>
          <ac:picMkLst>
            <pc:docMk/>
            <pc:sldMk cId="3510222836" sldId="333"/>
            <ac:picMk id="8" creationId="{A88495B4-A430-4222-B376-59A0512CFA00}"/>
          </ac:picMkLst>
        </pc:picChg>
      </pc:sldChg>
      <pc:sldChg chg="modSp add del mod setBg">
        <pc:chgData name="Michael" userId="85409873-b96b-4669-be5a-63f793ebbda5" providerId="ADAL" clId="{9B845934-5E41-4FB1-964A-63DEFC5F11D7}" dt="2020-05-06T18:23:50.305" v="2590" actId="962"/>
        <pc:sldMkLst>
          <pc:docMk/>
          <pc:sldMk cId="1717520380" sldId="335"/>
        </pc:sldMkLst>
        <pc:spChg chg="mod">
          <ac:chgData name="Michael" userId="85409873-b96b-4669-be5a-63f793ebbda5" providerId="ADAL" clId="{9B845934-5E41-4FB1-964A-63DEFC5F11D7}" dt="2020-05-06T18:23:50.305" v="2590" actId="962"/>
          <ac:spMkLst>
            <pc:docMk/>
            <pc:sldMk cId="1717520380" sldId="335"/>
            <ac:spMk id="46" creationId="{DF798C4C-100A-4476-BA29-B9112BF1E7E7}"/>
          </ac:spMkLst>
        </pc:spChg>
        <pc:spChg chg="mod">
          <ac:chgData name="Michael" userId="85409873-b96b-4669-be5a-63f793ebbda5" providerId="ADAL" clId="{9B845934-5E41-4FB1-964A-63DEFC5F11D7}" dt="2020-05-06T18:22:56.657" v="2586" actId="13244"/>
          <ac:spMkLst>
            <pc:docMk/>
            <pc:sldMk cId="1717520380" sldId="335"/>
            <ac:spMk id="47" creationId="{9A4C9CEE-083C-44A4-A6D7-4AEEC0B6FDCF}"/>
          </ac:spMkLst>
        </pc:spChg>
        <pc:grpChg chg="mod">
          <ac:chgData name="Michael" userId="85409873-b96b-4669-be5a-63f793ebbda5" providerId="ADAL" clId="{9B845934-5E41-4FB1-964A-63DEFC5F11D7}" dt="2020-05-06T18:21:04.221" v="2419" actId="962"/>
          <ac:grpSpMkLst>
            <pc:docMk/>
            <pc:sldMk cId="1717520380" sldId="335"/>
            <ac:grpSpMk id="7" creationId="{BDF45B90-FFB4-485F-AA93-2384FCA94BDB}"/>
          </ac:grpSpMkLst>
        </pc:grpChg>
        <pc:picChg chg="mod">
          <ac:chgData name="Michael" userId="85409873-b96b-4669-be5a-63f793ebbda5" providerId="ADAL" clId="{9B845934-5E41-4FB1-964A-63DEFC5F11D7}" dt="2020-05-06T18:20:56.780" v="2418" actId="962"/>
          <ac:picMkLst>
            <pc:docMk/>
            <pc:sldMk cId="1717520380" sldId="335"/>
            <ac:picMk id="23" creationId="{3BEF82C9-D46F-4A02-B1BC-B67D97248BB5}"/>
          </ac:picMkLst>
        </pc:picChg>
        <pc:picChg chg="mod">
          <ac:chgData name="Michael" userId="85409873-b96b-4669-be5a-63f793ebbda5" providerId="ADAL" clId="{9B845934-5E41-4FB1-964A-63DEFC5F11D7}" dt="2020-05-06T18:23:22.207" v="2589" actId="13244"/>
          <ac:picMkLst>
            <pc:docMk/>
            <pc:sldMk cId="1717520380" sldId="335"/>
            <ac:picMk id="24" creationId="{C42739A7-C917-4451-A8EE-290F7A37912F}"/>
          </ac:picMkLst>
        </pc:picChg>
        <pc:picChg chg="mod">
          <ac:chgData name="Michael" userId="85409873-b96b-4669-be5a-63f793ebbda5" providerId="ADAL" clId="{9B845934-5E41-4FB1-964A-63DEFC5F11D7}" dt="2020-05-06T18:23:07.080" v="2587" actId="13244"/>
          <ac:picMkLst>
            <pc:docMk/>
            <pc:sldMk cId="1717520380" sldId="335"/>
            <ac:picMk id="25" creationId="{C7E3D9F7-44F5-48F3-AB67-9EB673863936}"/>
          </ac:picMkLst>
        </pc:picChg>
        <pc:picChg chg="mod">
          <ac:chgData name="Michael" userId="85409873-b96b-4669-be5a-63f793ebbda5" providerId="ADAL" clId="{9B845934-5E41-4FB1-964A-63DEFC5F11D7}" dt="2020-05-06T18:23:14.528" v="2588" actId="13244"/>
          <ac:picMkLst>
            <pc:docMk/>
            <pc:sldMk cId="1717520380" sldId="335"/>
            <ac:picMk id="42" creationId="{557652C7-88D6-4999-B0F1-D07769CC6308}"/>
          </ac:picMkLst>
        </pc:picChg>
      </pc:sldChg>
      <pc:sldChg chg="modSp add del mod setBg">
        <pc:chgData name="Michael" userId="85409873-b96b-4669-be5a-63f793ebbda5" providerId="ADAL" clId="{9B845934-5E41-4FB1-964A-63DEFC5F11D7}" dt="2020-05-06T18:24:46.670" v="2648" actId="962"/>
        <pc:sldMkLst>
          <pc:docMk/>
          <pc:sldMk cId="4118482820" sldId="354"/>
        </pc:sldMkLst>
        <pc:spChg chg="mod">
          <ac:chgData name="Michael" userId="85409873-b96b-4669-be5a-63f793ebbda5" providerId="ADAL" clId="{9B845934-5E41-4FB1-964A-63DEFC5F11D7}" dt="2020-05-06T18:24:09.184" v="2593" actId="13244"/>
          <ac:spMkLst>
            <pc:docMk/>
            <pc:sldMk cId="4118482820" sldId="354"/>
            <ac:spMk id="7" creationId="{16F55F5F-68FA-4829-AD6F-152D1832B6E0}"/>
          </ac:spMkLst>
        </pc:spChg>
        <pc:spChg chg="mod">
          <ac:chgData name="Michael" userId="85409873-b96b-4669-be5a-63f793ebbda5" providerId="ADAL" clId="{9B845934-5E41-4FB1-964A-63DEFC5F11D7}" dt="2020-05-06T18:24:06.999" v="2592" actId="962"/>
          <ac:spMkLst>
            <pc:docMk/>
            <pc:sldMk cId="4118482820" sldId="354"/>
            <ac:spMk id="28" creationId="{F5A478C8-F776-4012-9CF0-620D5873FB59}"/>
          </ac:spMkLst>
        </pc:spChg>
        <pc:picChg chg="mod">
          <ac:chgData name="Michael" userId="85409873-b96b-4669-be5a-63f793ebbda5" providerId="ADAL" clId="{9B845934-5E41-4FB1-964A-63DEFC5F11D7}" dt="2020-05-06T18:24:46.670" v="2648" actId="962"/>
          <ac:picMkLst>
            <pc:docMk/>
            <pc:sldMk cId="4118482820" sldId="354"/>
            <ac:picMk id="8" creationId="{6F0E6441-4F71-409C-B8A5-CC224652A604}"/>
          </ac:picMkLst>
        </pc:picChg>
      </pc:sldChg>
      <pc:sldChg chg="modSp add del mod setBg">
        <pc:chgData name="Michael" userId="85409873-b96b-4669-be5a-63f793ebbda5" providerId="ADAL" clId="{9B845934-5E41-4FB1-964A-63DEFC5F11D7}" dt="2020-05-06T18:25:17.144" v="2651" actId="13244"/>
        <pc:sldMkLst>
          <pc:docMk/>
          <pc:sldMk cId="4156828315" sldId="355"/>
        </pc:sldMkLst>
        <pc:spChg chg="mod">
          <ac:chgData name="Michael" userId="85409873-b96b-4669-be5a-63f793ebbda5" providerId="ADAL" clId="{9B845934-5E41-4FB1-964A-63DEFC5F11D7}" dt="2020-05-06T18:25:17.144" v="2651" actId="13244"/>
          <ac:spMkLst>
            <pc:docMk/>
            <pc:sldMk cId="4156828315" sldId="355"/>
            <ac:spMk id="7" creationId="{16F55F5F-68FA-4829-AD6F-152D1832B6E0}"/>
          </ac:spMkLst>
        </pc:spChg>
        <pc:spChg chg="mod">
          <ac:chgData name="Michael" userId="85409873-b96b-4669-be5a-63f793ebbda5" providerId="ADAL" clId="{9B845934-5E41-4FB1-964A-63DEFC5F11D7}" dt="2020-05-06T18:25:13.599" v="2650" actId="962"/>
          <ac:spMkLst>
            <pc:docMk/>
            <pc:sldMk cId="4156828315" sldId="355"/>
            <ac:spMk id="28" creationId="{F5A478C8-F776-4012-9CF0-620D5873FB59}"/>
          </ac:spMkLst>
        </pc:spChg>
        <pc:picChg chg="mod">
          <ac:chgData name="Michael" userId="85409873-b96b-4669-be5a-63f793ebbda5" providerId="ADAL" clId="{9B845934-5E41-4FB1-964A-63DEFC5F11D7}" dt="2020-05-06T18:21:18.244" v="2420" actId="962"/>
          <ac:picMkLst>
            <pc:docMk/>
            <pc:sldMk cId="4156828315" sldId="355"/>
            <ac:picMk id="10" creationId="{59C403FB-B94D-45B2-BFD1-23917280CBE7}"/>
          </ac:picMkLst>
        </pc:picChg>
      </pc:sldChg>
      <pc:sldChg chg="addSp modSp mod">
        <pc:chgData name="Michael" userId="85409873-b96b-4669-be5a-63f793ebbda5" providerId="ADAL" clId="{9B845934-5E41-4FB1-964A-63DEFC5F11D7}" dt="2020-05-06T18:26:02.615" v="2653" actId="13244"/>
        <pc:sldMkLst>
          <pc:docMk/>
          <pc:sldMk cId="1786828944" sldId="4447"/>
        </pc:sldMkLst>
        <pc:picChg chg="add mod">
          <ac:chgData name="Michael" userId="85409873-b96b-4669-be5a-63f793ebbda5" providerId="ADAL" clId="{9B845934-5E41-4FB1-964A-63DEFC5F11D7}" dt="2020-05-06T18:25:56.192" v="2652" actId="13244"/>
          <ac:picMkLst>
            <pc:docMk/>
            <pc:sldMk cId="1786828944" sldId="4447"/>
            <ac:picMk id="8" creationId="{ED0133EF-D998-43B2-BCF1-CB5C777471D2}"/>
          </ac:picMkLst>
        </pc:picChg>
        <pc:picChg chg="mod">
          <ac:chgData name="Michael" userId="85409873-b96b-4669-be5a-63f793ebbda5" providerId="ADAL" clId="{9B845934-5E41-4FB1-964A-63DEFC5F11D7}" dt="2020-05-06T18:26:02.615" v="2653" actId="13244"/>
          <ac:picMkLst>
            <pc:docMk/>
            <pc:sldMk cId="1786828944" sldId="4447"/>
            <ac:picMk id="9" creationId="{B89A7658-4C18-47ED-A4DD-415F8C18B984}"/>
          </ac:picMkLst>
        </pc:picChg>
      </pc:sldChg>
      <pc:sldChg chg="addSp delSp modSp new mod setBg setClrOvrMap">
        <pc:chgData name="Michael" userId="85409873-b96b-4669-be5a-63f793ebbda5" providerId="ADAL" clId="{9B845934-5E41-4FB1-964A-63DEFC5F11D7}" dt="2020-05-06T17:58:42.081" v="2033" actId="962"/>
        <pc:sldMkLst>
          <pc:docMk/>
          <pc:sldMk cId="1363255158" sldId="4448"/>
        </pc:sldMkLst>
        <pc:spChg chg="mod">
          <ac:chgData name="Michael" userId="85409873-b96b-4669-be5a-63f793ebbda5" providerId="ADAL" clId="{9B845934-5E41-4FB1-964A-63DEFC5F11D7}" dt="2020-05-06T10:16:17.258" v="376" actId="26606"/>
          <ac:spMkLst>
            <pc:docMk/>
            <pc:sldMk cId="1363255158" sldId="4448"/>
            <ac:spMk id="2" creationId="{B77E9814-E71C-4319-830A-334EBFE73C3D}"/>
          </ac:spMkLst>
        </pc:spChg>
        <pc:spChg chg="mod">
          <ac:chgData name="Michael" userId="85409873-b96b-4669-be5a-63f793ebbda5" providerId="ADAL" clId="{9B845934-5E41-4FB1-964A-63DEFC5F11D7}" dt="2020-05-06T10:16:17.258" v="376" actId="26606"/>
          <ac:spMkLst>
            <pc:docMk/>
            <pc:sldMk cId="1363255158" sldId="4448"/>
            <ac:spMk id="3" creationId="{E0CA1ADB-7D32-4FDB-9E2B-91AC5DE58997}"/>
          </ac:spMkLst>
        </pc:spChg>
        <pc:spChg chg="add del">
          <ac:chgData name="Michael" userId="85409873-b96b-4669-be5a-63f793ebbda5" providerId="ADAL" clId="{9B845934-5E41-4FB1-964A-63DEFC5F11D7}" dt="2020-05-06T10:11:05.840" v="66" actId="26606"/>
          <ac:spMkLst>
            <pc:docMk/>
            <pc:sldMk cId="1363255158" sldId="4448"/>
            <ac:spMk id="9" creationId="{0671A8AE-40A1-4631-A6B8-581AFF065482}"/>
          </ac:spMkLst>
        </pc:spChg>
        <pc:spChg chg="add del">
          <ac:chgData name="Michael" userId="85409873-b96b-4669-be5a-63f793ebbda5" providerId="ADAL" clId="{9B845934-5E41-4FB1-964A-63DEFC5F11D7}" dt="2020-05-06T10:11:05.840" v="66" actId="26606"/>
          <ac:spMkLst>
            <pc:docMk/>
            <pc:sldMk cId="1363255158" sldId="4448"/>
            <ac:spMk id="11" creationId="{AB58EF07-17C2-48CF-ABB0-EEF1F17CB8F0}"/>
          </ac:spMkLst>
        </pc:spChg>
        <pc:spChg chg="add del">
          <ac:chgData name="Michael" userId="85409873-b96b-4669-be5a-63f793ebbda5" providerId="ADAL" clId="{9B845934-5E41-4FB1-964A-63DEFC5F11D7}" dt="2020-05-06T10:11:05.840" v="66" actId="26606"/>
          <ac:spMkLst>
            <pc:docMk/>
            <pc:sldMk cId="1363255158" sldId="4448"/>
            <ac:spMk id="13" creationId="{AF2F604E-43BE-4DC3-B983-E071523364F8}"/>
          </ac:spMkLst>
        </pc:spChg>
        <pc:spChg chg="add del">
          <ac:chgData name="Michael" userId="85409873-b96b-4669-be5a-63f793ebbda5" providerId="ADAL" clId="{9B845934-5E41-4FB1-964A-63DEFC5F11D7}" dt="2020-05-06T10:11:05.840" v="66" actId="26606"/>
          <ac:spMkLst>
            <pc:docMk/>
            <pc:sldMk cId="1363255158" sldId="4448"/>
            <ac:spMk id="15" creationId="{08C9B587-E65E-4B52-B37C-ABEBB6E87928}"/>
          </ac:spMkLst>
        </pc:spChg>
        <pc:spChg chg="add del">
          <ac:chgData name="Michael" userId="85409873-b96b-4669-be5a-63f793ebbda5" providerId="ADAL" clId="{9B845934-5E41-4FB1-964A-63DEFC5F11D7}" dt="2020-05-06T10:16:17.258" v="376" actId="26606"/>
          <ac:spMkLst>
            <pc:docMk/>
            <pc:sldMk cId="1363255158" sldId="4448"/>
            <ac:spMk id="17" creationId="{71B2258F-86CA-4D4D-8270-BC05FCDEBFB3}"/>
          </ac:spMkLst>
        </pc:spChg>
        <pc:spChg chg="add">
          <ac:chgData name="Michael" userId="85409873-b96b-4669-be5a-63f793ebbda5" providerId="ADAL" clId="{9B845934-5E41-4FB1-964A-63DEFC5F11D7}" dt="2020-05-06T10:16:17.258" v="376" actId="26606"/>
          <ac:spMkLst>
            <pc:docMk/>
            <pc:sldMk cId="1363255158" sldId="4448"/>
            <ac:spMk id="23" creationId="{0671A8AE-40A1-4631-A6B8-581AFF065482}"/>
          </ac:spMkLst>
        </pc:spChg>
        <pc:spChg chg="add">
          <ac:chgData name="Michael" userId="85409873-b96b-4669-be5a-63f793ebbda5" providerId="ADAL" clId="{9B845934-5E41-4FB1-964A-63DEFC5F11D7}" dt="2020-05-06T10:16:17.258" v="376" actId="26606"/>
          <ac:spMkLst>
            <pc:docMk/>
            <pc:sldMk cId="1363255158" sldId="4448"/>
            <ac:spMk id="25" creationId="{AB58EF07-17C2-48CF-ABB0-EEF1F17CB8F0}"/>
          </ac:spMkLst>
        </pc:spChg>
        <pc:spChg chg="add">
          <ac:chgData name="Michael" userId="85409873-b96b-4669-be5a-63f793ebbda5" providerId="ADAL" clId="{9B845934-5E41-4FB1-964A-63DEFC5F11D7}" dt="2020-05-06T10:16:17.258" v="376" actId="26606"/>
          <ac:spMkLst>
            <pc:docMk/>
            <pc:sldMk cId="1363255158" sldId="4448"/>
            <ac:spMk id="27" creationId="{AF2F604E-43BE-4DC3-B983-E071523364F8}"/>
          </ac:spMkLst>
        </pc:spChg>
        <pc:spChg chg="add">
          <ac:chgData name="Michael" userId="85409873-b96b-4669-be5a-63f793ebbda5" providerId="ADAL" clId="{9B845934-5E41-4FB1-964A-63DEFC5F11D7}" dt="2020-05-06T10:16:17.258" v="376" actId="26606"/>
          <ac:spMkLst>
            <pc:docMk/>
            <pc:sldMk cId="1363255158" sldId="4448"/>
            <ac:spMk id="29" creationId="{08C9B587-E65E-4B52-B37C-ABEBB6E87928}"/>
          </ac:spMkLst>
        </pc:spChg>
        <pc:picChg chg="add del">
          <ac:chgData name="Michael" userId="85409873-b96b-4669-be5a-63f793ebbda5" providerId="ADAL" clId="{9B845934-5E41-4FB1-964A-63DEFC5F11D7}" dt="2020-05-06T10:11:05.840" v="66" actId="26606"/>
          <ac:picMkLst>
            <pc:docMk/>
            <pc:sldMk cId="1363255158" sldId="4448"/>
            <ac:picMk id="5" creationId="{2A89A67C-D734-42A8-BDB7-F064BB8EE05C}"/>
          </ac:picMkLst>
        </pc:picChg>
        <pc:picChg chg="add mod">
          <ac:chgData name="Michael" userId="85409873-b96b-4669-be5a-63f793ebbda5" providerId="ADAL" clId="{9B845934-5E41-4FB1-964A-63DEFC5F11D7}" dt="2020-05-06T17:58:42.081" v="2033" actId="962"/>
          <ac:picMkLst>
            <pc:docMk/>
            <pc:sldMk cId="1363255158" sldId="4448"/>
            <ac:picMk id="18" creationId="{D62E68C4-445D-4163-860B-393F07EA9978}"/>
          </ac:picMkLst>
        </pc:picChg>
      </pc:sldChg>
      <pc:sldChg chg="addSp delSp modSp new mod setBg setClrOvrMap">
        <pc:chgData name="Michael" userId="85409873-b96b-4669-be5a-63f793ebbda5" providerId="ADAL" clId="{9B845934-5E41-4FB1-964A-63DEFC5F11D7}" dt="2020-05-06T18:18:57.676" v="2080" actId="962"/>
        <pc:sldMkLst>
          <pc:docMk/>
          <pc:sldMk cId="1020492903" sldId="4449"/>
        </pc:sldMkLst>
        <pc:spChg chg="mod">
          <ac:chgData name="Michael" userId="85409873-b96b-4669-be5a-63f793ebbda5" providerId="ADAL" clId="{9B845934-5E41-4FB1-964A-63DEFC5F11D7}" dt="2020-05-06T18:04:08.929" v="2045" actId="6549"/>
          <ac:spMkLst>
            <pc:docMk/>
            <pc:sldMk cId="1020492903" sldId="4449"/>
            <ac:spMk id="2" creationId="{0585FAF9-6522-48A7-BEC1-91FC434C465A}"/>
          </ac:spMkLst>
        </pc:spChg>
        <pc:spChg chg="mod">
          <ac:chgData name="Michael" userId="85409873-b96b-4669-be5a-63f793ebbda5" providerId="ADAL" clId="{9B845934-5E41-4FB1-964A-63DEFC5F11D7}" dt="2020-05-06T10:16:14.117" v="375" actId="26606"/>
          <ac:spMkLst>
            <pc:docMk/>
            <pc:sldMk cId="1020492903" sldId="4449"/>
            <ac:spMk id="3" creationId="{36825ADB-68B9-4310-A467-B84FF7E11FBA}"/>
          </ac:spMkLst>
        </pc:spChg>
        <pc:spChg chg="add del">
          <ac:chgData name="Michael" userId="85409873-b96b-4669-be5a-63f793ebbda5" providerId="ADAL" clId="{9B845934-5E41-4FB1-964A-63DEFC5F11D7}" dt="2020-05-06T10:12:37.070" v="149" actId="26606"/>
          <ac:spMkLst>
            <pc:docMk/>
            <pc:sldMk cId="1020492903" sldId="4449"/>
            <ac:spMk id="9" creationId="{71B2258F-86CA-4D4D-8270-BC05FCDEBFB3}"/>
          </ac:spMkLst>
        </pc:spChg>
        <pc:spChg chg="add del">
          <ac:chgData name="Michael" userId="85409873-b96b-4669-be5a-63f793ebbda5" providerId="ADAL" clId="{9B845934-5E41-4FB1-964A-63DEFC5F11D7}" dt="2020-05-06T10:12:42.926" v="151" actId="26606"/>
          <ac:spMkLst>
            <pc:docMk/>
            <pc:sldMk cId="1020492903" sldId="4449"/>
            <ac:spMk id="11" creationId="{AB58EF07-17C2-48CF-ABB0-EEF1F17CB8F0}"/>
          </ac:spMkLst>
        </pc:spChg>
        <pc:spChg chg="add del">
          <ac:chgData name="Michael" userId="85409873-b96b-4669-be5a-63f793ebbda5" providerId="ADAL" clId="{9B845934-5E41-4FB1-964A-63DEFC5F11D7}" dt="2020-05-06T10:12:42.926" v="151" actId="26606"/>
          <ac:spMkLst>
            <pc:docMk/>
            <pc:sldMk cId="1020492903" sldId="4449"/>
            <ac:spMk id="12" creationId="{0671A8AE-40A1-4631-A6B8-581AFF065482}"/>
          </ac:spMkLst>
        </pc:spChg>
        <pc:spChg chg="add del">
          <ac:chgData name="Michael" userId="85409873-b96b-4669-be5a-63f793ebbda5" providerId="ADAL" clId="{9B845934-5E41-4FB1-964A-63DEFC5F11D7}" dt="2020-05-06T10:12:42.926" v="151" actId="26606"/>
          <ac:spMkLst>
            <pc:docMk/>
            <pc:sldMk cId="1020492903" sldId="4449"/>
            <ac:spMk id="13" creationId="{AF2F604E-43BE-4DC3-B983-E071523364F8}"/>
          </ac:spMkLst>
        </pc:spChg>
        <pc:spChg chg="add del">
          <ac:chgData name="Michael" userId="85409873-b96b-4669-be5a-63f793ebbda5" providerId="ADAL" clId="{9B845934-5E41-4FB1-964A-63DEFC5F11D7}" dt="2020-05-06T10:12:42.926" v="151" actId="26606"/>
          <ac:spMkLst>
            <pc:docMk/>
            <pc:sldMk cId="1020492903" sldId="4449"/>
            <ac:spMk id="15" creationId="{08C9B587-E65E-4B52-B37C-ABEBB6E87928}"/>
          </ac:spMkLst>
        </pc:spChg>
        <pc:spChg chg="add del">
          <ac:chgData name="Michael" userId="85409873-b96b-4669-be5a-63f793ebbda5" providerId="ADAL" clId="{9B845934-5E41-4FB1-964A-63DEFC5F11D7}" dt="2020-05-06T10:16:14.117" v="375" actId="26606"/>
          <ac:spMkLst>
            <pc:docMk/>
            <pc:sldMk cId="1020492903" sldId="4449"/>
            <ac:spMk id="17" creationId="{71B2258F-86CA-4D4D-8270-BC05FCDEBFB3}"/>
          </ac:spMkLst>
        </pc:spChg>
        <pc:spChg chg="add del">
          <ac:chgData name="Michael" userId="85409873-b96b-4669-be5a-63f793ebbda5" providerId="ADAL" clId="{9B845934-5E41-4FB1-964A-63DEFC5F11D7}" dt="2020-05-06T18:06:10.116" v="2051" actId="26606"/>
          <ac:spMkLst>
            <pc:docMk/>
            <pc:sldMk cId="1020492903" sldId="4449"/>
            <ac:spMk id="23" creationId="{0671A8AE-40A1-4631-A6B8-581AFF065482}"/>
          </ac:spMkLst>
        </pc:spChg>
        <pc:spChg chg="add del">
          <ac:chgData name="Michael" userId="85409873-b96b-4669-be5a-63f793ebbda5" providerId="ADAL" clId="{9B845934-5E41-4FB1-964A-63DEFC5F11D7}" dt="2020-05-06T18:06:10.116" v="2051" actId="26606"/>
          <ac:spMkLst>
            <pc:docMk/>
            <pc:sldMk cId="1020492903" sldId="4449"/>
            <ac:spMk id="25" creationId="{AB58EF07-17C2-48CF-ABB0-EEF1F17CB8F0}"/>
          </ac:spMkLst>
        </pc:spChg>
        <pc:spChg chg="add del">
          <ac:chgData name="Michael" userId="85409873-b96b-4669-be5a-63f793ebbda5" providerId="ADAL" clId="{9B845934-5E41-4FB1-964A-63DEFC5F11D7}" dt="2020-05-06T18:06:10.116" v="2051" actId="26606"/>
          <ac:spMkLst>
            <pc:docMk/>
            <pc:sldMk cId="1020492903" sldId="4449"/>
            <ac:spMk id="27" creationId="{AF2F604E-43BE-4DC3-B983-E071523364F8}"/>
          </ac:spMkLst>
        </pc:spChg>
        <pc:spChg chg="add del">
          <ac:chgData name="Michael" userId="85409873-b96b-4669-be5a-63f793ebbda5" providerId="ADAL" clId="{9B845934-5E41-4FB1-964A-63DEFC5F11D7}" dt="2020-05-06T18:06:10.116" v="2051" actId="26606"/>
          <ac:spMkLst>
            <pc:docMk/>
            <pc:sldMk cId="1020492903" sldId="4449"/>
            <ac:spMk id="29" creationId="{08C9B587-E65E-4B52-B37C-ABEBB6E87928}"/>
          </ac:spMkLst>
        </pc:spChg>
        <pc:spChg chg="add">
          <ac:chgData name="Michael" userId="85409873-b96b-4669-be5a-63f793ebbda5" providerId="ADAL" clId="{9B845934-5E41-4FB1-964A-63DEFC5F11D7}" dt="2020-05-06T18:06:10.116" v="2051" actId="26606"/>
          <ac:spMkLst>
            <pc:docMk/>
            <pc:sldMk cId="1020492903" sldId="4449"/>
            <ac:spMk id="34" creationId="{0671A8AE-40A1-4631-A6B8-581AFF065482}"/>
          </ac:spMkLst>
        </pc:spChg>
        <pc:spChg chg="add">
          <ac:chgData name="Michael" userId="85409873-b96b-4669-be5a-63f793ebbda5" providerId="ADAL" clId="{9B845934-5E41-4FB1-964A-63DEFC5F11D7}" dt="2020-05-06T18:06:10.116" v="2051" actId="26606"/>
          <ac:spMkLst>
            <pc:docMk/>
            <pc:sldMk cId="1020492903" sldId="4449"/>
            <ac:spMk id="36" creationId="{AB58EF07-17C2-48CF-ABB0-EEF1F17CB8F0}"/>
          </ac:spMkLst>
        </pc:spChg>
        <pc:spChg chg="add">
          <ac:chgData name="Michael" userId="85409873-b96b-4669-be5a-63f793ebbda5" providerId="ADAL" clId="{9B845934-5E41-4FB1-964A-63DEFC5F11D7}" dt="2020-05-06T18:06:10.116" v="2051" actId="26606"/>
          <ac:spMkLst>
            <pc:docMk/>
            <pc:sldMk cId="1020492903" sldId="4449"/>
            <ac:spMk id="38" creationId="{AF2F604E-43BE-4DC3-B983-E071523364F8}"/>
          </ac:spMkLst>
        </pc:spChg>
        <pc:spChg chg="add">
          <ac:chgData name="Michael" userId="85409873-b96b-4669-be5a-63f793ebbda5" providerId="ADAL" clId="{9B845934-5E41-4FB1-964A-63DEFC5F11D7}" dt="2020-05-06T18:06:10.116" v="2051" actId="26606"/>
          <ac:spMkLst>
            <pc:docMk/>
            <pc:sldMk cId="1020492903" sldId="4449"/>
            <ac:spMk id="40" creationId="{08C9B587-E65E-4B52-B37C-ABEBB6E87928}"/>
          </ac:spMkLst>
        </pc:spChg>
        <pc:picChg chg="add del">
          <ac:chgData name="Michael" userId="85409873-b96b-4669-be5a-63f793ebbda5" providerId="ADAL" clId="{9B845934-5E41-4FB1-964A-63DEFC5F11D7}" dt="2020-05-06T10:12:37.070" v="149" actId="26606"/>
          <ac:picMkLst>
            <pc:docMk/>
            <pc:sldMk cId="1020492903" sldId="4449"/>
            <ac:picMk id="5" creationId="{DEBA2DBF-590D-4268-A9B8-428CBAB88702}"/>
          </ac:picMkLst>
        </pc:picChg>
        <pc:picChg chg="add del">
          <ac:chgData name="Michael" userId="85409873-b96b-4669-be5a-63f793ebbda5" providerId="ADAL" clId="{9B845934-5E41-4FB1-964A-63DEFC5F11D7}" dt="2020-05-06T10:12:42.926" v="151" actId="26606"/>
          <ac:picMkLst>
            <pc:docMk/>
            <pc:sldMk cId="1020492903" sldId="4449"/>
            <ac:picMk id="14" creationId="{366E12FF-AE6A-4D11-BA8F-92791F6F56FB}"/>
          </ac:picMkLst>
        </pc:picChg>
        <pc:picChg chg="add mod">
          <ac:chgData name="Michael" userId="85409873-b96b-4669-be5a-63f793ebbda5" providerId="ADAL" clId="{9B845934-5E41-4FB1-964A-63DEFC5F11D7}" dt="2020-05-06T18:18:57.676" v="2080" actId="962"/>
          <ac:picMkLst>
            <pc:docMk/>
            <pc:sldMk cId="1020492903" sldId="4449"/>
            <ac:picMk id="18" creationId="{DEBA2DBF-590D-4268-A9B8-428CBAB88702}"/>
          </ac:picMkLst>
        </pc:picChg>
      </pc:sldChg>
      <pc:sldChg chg="addSp delSp modSp new del mod setBg setClrOvrMap">
        <pc:chgData name="Michael" userId="85409873-b96b-4669-be5a-63f793ebbda5" providerId="ADAL" clId="{9B845934-5E41-4FB1-964A-63DEFC5F11D7}" dt="2020-05-06T16:49:44.025" v="1728" actId="47"/>
        <pc:sldMkLst>
          <pc:docMk/>
          <pc:sldMk cId="4169918884" sldId="4450"/>
        </pc:sldMkLst>
        <pc:spChg chg="mod">
          <ac:chgData name="Michael" userId="85409873-b96b-4669-be5a-63f793ebbda5" providerId="ADAL" clId="{9B845934-5E41-4FB1-964A-63DEFC5F11D7}" dt="2020-05-06T10:16:08.778" v="374" actId="26606"/>
          <ac:spMkLst>
            <pc:docMk/>
            <pc:sldMk cId="4169918884" sldId="4450"/>
            <ac:spMk id="2" creationId="{2C5C41C5-53DC-4826-925D-37ECF1AEFB39}"/>
          </ac:spMkLst>
        </pc:spChg>
        <pc:spChg chg="mod">
          <ac:chgData name="Michael" userId="85409873-b96b-4669-be5a-63f793ebbda5" providerId="ADAL" clId="{9B845934-5E41-4FB1-964A-63DEFC5F11D7}" dt="2020-05-06T10:16:08.778" v="374" actId="26606"/>
          <ac:spMkLst>
            <pc:docMk/>
            <pc:sldMk cId="4169918884" sldId="4450"/>
            <ac:spMk id="3" creationId="{ABBE1C73-D2F7-44A6-A6F4-0CDA158DE604}"/>
          </ac:spMkLst>
        </pc:spChg>
        <pc:spChg chg="add del">
          <ac:chgData name="Michael" userId="85409873-b96b-4669-be5a-63f793ebbda5" providerId="ADAL" clId="{9B845934-5E41-4FB1-964A-63DEFC5F11D7}" dt="2020-05-06T10:13:38.541" v="227" actId="26606"/>
          <ac:spMkLst>
            <pc:docMk/>
            <pc:sldMk cId="4169918884" sldId="4450"/>
            <ac:spMk id="9" creationId="{71B2258F-86CA-4D4D-8270-BC05FCDEBFB3}"/>
          </ac:spMkLst>
        </pc:spChg>
        <pc:spChg chg="add">
          <ac:chgData name="Michael" userId="85409873-b96b-4669-be5a-63f793ebbda5" providerId="ADAL" clId="{9B845934-5E41-4FB1-964A-63DEFC5F11D7}" dt="2020-05-06T10:16:08.778" v="374" actId="26606"/>
          <ac:spMkLst>
            <pc:docMk/>
            <pc:sldMk cId="4169918884" sldId="4450"/>
            <ac:spMk id="16" creationId="{0671A8AE-40A1-4631-A6B8-581AFF065482}"/>
          </ac:spMkLst>
        </pc:spChg>
        <pc:spChg chg="add">
          <ac:chgData name="Michael" userId="85409873-b96b-4669-be5a-63f793ebbda5" providerId="ADAL" clId="{9B845934-5E41-4FB1-964A-63DEFC5F11D7}" dt="2020-05-06T10:16:08.778" v="374" actId="26606"/>
          <ac:spMkLst>
            <pc:docMk/>
            <pc:sldMk cId="4169918884" sldId="4450"/>
            <ac:spMk id="18" creationId="{AB58EF07-17C2-48CF-ABB0-EEF1F17CB8F0}"/>
          </ac:spMkLst>
        </pc:spChg>
        <pc:spChg chg="add">
          <ac:chgData name="Michael" userId="85409873-b96b-4669-be5a-63f793ebbda5" providerId="ADAL" clId="{9B845934-5E41-4FB1-964A-63DEFC5F11D7}" dt="2020-05-06T10:16:08.778" v="374" actId="26606"/>
          <ac:spMkLst>
            <pc:docMk/>
            <pc:sldMk cId="4169918884" sldId="4450"/>
            <ac:spMk id="20" creationId="{AF2F604E-43BE-4DC3-B983-E071523364F8}"/>
          </ac:spMkLst>
        </pc:spChg>
        <pc:spChg chg="add">
          <ac:chgData name="Michael" userId="85409873-b96b-4669-be5a-63f793ebbda5" providerId="ADAL" clId="{9B845934-5E41-4FB1-964A-63DEFC5F11D7}" dt="2020-05-06T10:16:08.778" v="374" actId="26606"/>
          <ac:spMkLst>
            <pc:docMk/>
            <pc:sldMk cId="4169918884" sldId="4450"/>
            <ac:spMk id="22" creationId="{08C9B587-E65E-4B52-B37C-ABEBB6E87928}"/>
          </ac:spMkLst>
        </pc:spChg>
        <pc:picChg chg="add del">
          <ac:chgData name="Michael" userId="85409873-b96b-4669-be5a-63f793ebbda5" providerId="ADAL" clId="{9B845934-5E41-4FB1-964A-63DEFC5F11D7}" dt="2020-05-06T10:13:38.541" v="227" actId="26606"/>
          <ac:picMkLst>
            <pc:docMk/>
            <pc:sldMk cId="4169918884" sldId="4450"/>
            <ac:picMk id="5" creationId="{A9D4A363-5EF2-4CB4-943C-AF590BC6EF93}"/>
          </ac:picMkLst>
        </pc:picChg>
        <pc:picChg chg="add mod">
          <ac:chgData name="Michael" userId="85409873-b96b-4669-be5a-63f793ebbda5" providerId="ADAL" clId="{9B845934-5E41-4FB1-964A-63DEFC5F11D7}" dt="2020-05-06T10:16:08.778" v="374" actId="26606"/>
          <ac:picMkLst>
            <pc:docMk/>
            <pc:sldMk cId="4169918884" sldId="4450"/>
            <ac:picMk id="11" creationId="{53BE96C2-5877-4434-94A2-38C91E5F18A1}"/>
          </ac:picMkLst>
        </pc:picChg>
      </pc:sldChg>
      <pc:sldChg chg="addSp delSp modSp new del mod setBg setClrOvrMap">
        <pc:chgData name="Michael" userId="85409873-b96b-4669-be5a-63f793ebbda5" providerId="ADAL" clId="{9B845934-5E41-4FB1-964A-63DEFC5F11D7}" dt="2020-05-06T16:28:30.951" v="1124" actId="47"/>
        <pc:sldMkLst>
          <pc:docMk/>
          <pc:sldMk cId="1182427915" sldId="4451"/>
        </pc:sldMkLst>
        <pc:spChg chg="mod">
          <ac:chgData name="Michael" userId="85409873-b96b-4669-be5a-63f793ebbda5" providerId="ADAL" clId="{9B845934-5E41-4FB1-964A-63DEFC5F11D7}" dt="2020-05-06T10:16:02.234" v="373" actId="26606"/>
          <ac:spMkLst>
            <pc:docMk/>
            <pc:sldMk cId="1182427915" sldId="4451"/>
            <ac:spMk id="2" creationId="{6B11A840-D285-44AF-BA11-145B44280341}"/>
          </ac:spMkLst>
        </pc:spChg>
        <pc:spChg chg="mod">
          <ac:chgData name="Michael" userId="85409873-b96b-4669-be5a-63f793ebbda5" providerId="ADAL" clId="{9B845934-5E41-4FB1-964A-63DEFC5F11D7}" dt="2020-05-06T10:16:02.234" v="373" actId="26606"/>
          <ac:spMkLst>
            <pc:docMk/>
            <pc:sldMk cId="1182427915" sldId="4451"/>
            <ac:spMk id="3" creationId="{45B503DB-ABD6-419F-9980-DAB56ED9F5C3}"/>
          </ac:spMkLst>
        </pc:spChg>
        <pc:spChg chg="add del">
          <ac:chgData name="Michael" userId="85409873-b96b-4669-be5a-63f793ebbda5" providerId="ADAL" clId="{9B845934-5E41-4FB1-964A-63DEFC5F11D7}" dt="2020-05-06T10:16:02.234" v="373" actId="26606"/>
          <ac:spMkLst>
            <pc:docMk/>
            <pc:sldMk cId="1182427915" sldId="4451"/>
            <ac:spMk id="9" creationId="{0671A8AE-40A1-4631-A6B8-581AFF065482}"/>
          </ac:spMkLst>
        </pc:spChg>
        <pc:spChg chg="add del">
          <ac:chgData name="Michael" userId="85409873-b96b-4669-be5a-63f793ebbda5" providerId="ADAL" clId="{9B845934-5E41-4FB1-964A-63DEFC5F11D7}" dt="2020-05-06T10:16:02.234" v="373" actId="26606"/>
          <ac:spMkLst>
            <pc:docMk/>
            <pc:sldMk cId="1182427915" sldId="4451"/>
            <ac:spMk id="11" creationId="{AB58EF07-17C2-48CF-ABB0-EEF1F17CB8F0}"/>
          </ac:spMkLst>
        </pc:spChg>
        <pc:spChg chg="add del">
          <ac:chgData name="Michael" userId="85409873-b96b-4669-be5a-63f793ebbda5" providerId="ADAL" clId="{9B845934-5E41-4FB1-964A-63DEFC5F11D7}" dt="2020-05-06T10:16:02.234" v="373" actId="26606"/>
          <ac:spMkLst>
            <pc:docMk/>
            <pc:sldMk cId="1182427915" sldId="4451"/>
            <ac:spMk id="13" creationId="{AF2F604E-43BE-4DC3-B983-E071523364F8}"/>
          </ac:spMkLst>
        </pc:spChg>
        <pc:spChg chg="add del">
          <ac:chgData name="Michael" userId="85409873-b96b-4669-be5a-63f793ebbda5" providerId="ADAL" clId="{9B845934-5E41-4FB1-964A-63DEFC5F11D7}" dt="2020-05-06T10:16:02.234" v="373" actId="26606"/>
          <ac:spMkLst>
            <pc:docMk/>
            <pc:sldMk cId="1182427915" sldId="4451"/>
            <ac:spMk id="15" creationId="{08C9B587-E65E-4B52-B37C-ABEBB6E87928}"/>
          </ac:spMkLst>
        </pc:spChg>
        <pc:picChg chg="add del">
          <ac:chgData name="Michael" userId="85409873-b96b-4669-be5a-63f793ebbda5" providerId="ADAL" clId="{9B845934-5E41-4FB1-964A-63DEFC5F11D7}" dt="2020-05-06T10:16:02.234" v="373" actId="26606"/>
          <ac:picMkLst>
            <pc:docMk/>
            <pc:sldMk cId="1182427915" sldId="4451"/>
            <ac:picMk id="5" creationId="{47BE6728-62D4-4184-8F95-9F2817C6A3FA}"/>
          </ac:picMkLst>
        </pc:picChg>
      </pc:sldChg>
      <pc:sldChg chg="addSp delSp modSp new mod setBg setClrOvrMap">
        <pc:chgData name="Michael" userId="85409873-b96b-4669-be5a-63f793ebbda5" providerId="ADAL" clId="{9B845934-5E41-4FB1-964A-63DEFC5F11D7}" dt="2020-05-06T18:22:05.455" v="2550" actId="962"/>
        <pc:sldMkLst>
          <pc:docMk/>
          <pc:sldMk cId="3758389058" sldId="4452"/>
        </pc:sldMkLst>
        <pc:spChg chg="mod">
          <ac:chgData name="Michael" userId="85409873-b96b-4669-be5a-63f793ebbda5" providerId="ADAL" clId="{9B845934-5E41-4FB1-964A-63DEFC5F11D7}" dt="2020-05-06T16:28:52.254" v="1126" actId="26606"/>
          <ac:spMkLst>
            <pc:docMk/>
            <pc:sldMk cId="3758389058" sldId="4452"/>
            <ac:spMk id="2" creationId="{B9DE12F7-B88F-4DD5-8C12-29696F1BD0BD}"/>
          </ac:spMkLst>
        </pc:spChg>
        <pc:spChg chg="add del mod">
          <ac:chgData name="Michael" userId="85409873-b96b-4669-be5a-63f793ebbda5" providerId="ADAL" clId="{9B845934-5E41-4FB1-964A-63DEFC5F11D7}" dt="2020-05-06T10:51:36.594" v="499" actId="26606"/>
          <ac:spMkLst>
            <pc:docMk/>
            <pc:sldMk cId="3758389058" sldId="4452"/>
            <ac:spMk id="3" creationId="{1186C2BF-F2BF-4537-9B65-1AF4597BEE5A}"/>
          </ac:spMkLst>
        </pc:spChg>
        <pc:spChg chg="add del">
          <ac:chgData name="Michael" userId="85409873-b96b-4669-be5a-63f793ebbda5" providerId="ADAL" clId="{9B845934-5E41-4FB1-964A-63DEFC5F11D7}" dt="2020-05-06T10:51:36.585" v="498" actId="26606"/>
          <ac:spMkLst>
            <pc:docMk/>
            <pc:sldMk cId="3758389058" sldId="4452"/>
            <ac:spMk id="9" creationId="{9228552E-C8B1-4A80-8448-0787CE0FC704}"/>
          </ac:spMkLst>
        </pc:spChg>
        <pc:spChg chg="add del">
          <ac:chgData name="Michael" userId="85409873-b96b-4669-be5a-63f793ebbda5" providerId="ADAL" clId="{9B845934-5E41-4FB1-964A-63DEFC5F11D7}" dt="2020-05-06T10:51:10.018" v="496" actId="26606"/>
          <ac:spMkLst>
            <pc:docMk/>
            <pc:sldMk cId="3758389058" sldId="4452"/>
            <ac:spMk id="11" creationId="{9228552E-C8B1-4A80-8448-0787CE0FC704}"/>
          </ac:spMkLst>
        </pc:spChg>
        <pc:spChg chg="add del">
          <ac:chgData name="Michael" userId="85409873-b96b-4669-be5a-63f793ebbda5" providerId="ADAL" clId="{9B845934-5E41-4FB1-964A-63DEFC5F11D7}" dt="2020-05-06T10:51:36.585" v="498" actId="26606"/>
          <ac:spMkLst>
            <pc:docMk/>
            <pc:sldMk cId="3758389058" sldId="4452"/>
            <ac:spMk id="14" creationId="{1186C2BF-F2BF-4537-9B65-1AF4597BEE5A}"/>
          </ac:spMkLst>
        </pc:spChg>
        <pc:spChg chg="add mod">
          <ac:chgData name="Michael" userId="85409873-b96b-4669-be5a-63f793ebbda5" providerId="ADAL" clId="{9B845934-5E41-4FB1-964A-63DEFC5F11D7}" dt="2020-05-06T16:29:08.979" v="1128" actId="20577"/>
          <ac:spMkLst>
            <pc:docMk/>
            <pc:sldMk cId="3758389058" sldId="4452"/>
            <ac:spMk id="17" creationId="{1186C2BF-F2BF-4537-9B65-1AF4597BEE5A}"/>
          </ac:spMkLst>
        </pc:spChg>
        <pc:spChg chg="add">
          <ac:chgData name="Michael" userId="85409873-b96b-4669-be5a-63f793ebbda5" providerId="ADAL" clId="{9B845934-5E41-4FB1-964A-63DEFC5F11D7}" dt="2020-05-06T16:28:52.254" v="1126" actId="26606"/>
          <ac:spMkLst>
            <pc:docMk/>
            <pc:sldMk cId="3758389058" sldId="4452"/>
            <ac:spMk id="22" creationId="{724CD679-7405-4CD3-A92A-9469F279A59D}"/>
          </ac:spMkLst>
        </pc:spChg>
        <pc:graphicFrameChg chg="add del">
          <ac:chgData name="Michael" userId="85409873-b96b-4669-be5a-63f793ebbda5" providerId="ADAL" clId="{9B845934-5E41-4FB1-964A-63DEFC5F11D7}" dt="2020-05-06T10:51:10.018" v="496" actId="26606"/>
          <ac:graphicFrameMkLst>
            <pc:docMk/>
            <pc:sldMk cId="3758389058" sldId="4452"/>
            <ac:graphicFrameMk id="5" creationId="{FE1D7451-1260-457B-A749-9CCBC14AC2D1}"/>
          </ac:graphicFrameMkLst>
        </pc:graphicFrameChg>
        <pc:picChg chg="add del">
          <ac:chgData name="Michael" userId="85409873-b96b-4669-be5a-63f793ebbda5" providerId="ADAL" clId="{9B845934-5E41-4FB1-964A-63DEFC5F11D7}" dt="2020-05-06T10:51:10.018" v="496" actId="26606"/>
          <ac:picMkLst>
            <pc:docMk/>
            <pc:sldMk cId="3758389058" sldId="4452"/>
            <ac:picMk id="7" creationId="{62576EC6-C2AD-40A1-AAEF-1CD24A889743}"/>
          </ac:picMkLst>
        </pc:picChg>
        <pc:picChg chg="add del">
          <ac:chgData name="Michael" userId="85409873-b96b-4669-be5a-63f793ebbda5" providerId="ADAL" clId="{9B845934-5E41-4FB1-964A-63DEFC5F11D7}" dt="2020-05-06T10:51:36.585" v="498" actId="26606"/>
          <ac:picMkLst>
            <pc:docMk/>
            <pc:sldMk cId="3758389058" sldId="4452"/>
            <ac:picMk id="13" creationId="{87A7D5B1-0032-4DDE-A391-80AAAA0685A5}"/>
          </ac:picMkLst>
        </pc:picChg>
        <pc:picChg chg="add mod">
          <ac:chgData name="Michael" userId="85409873-b96b-4669-be5a-63f793ebbda5" providerId="ADAL" clId="{9B845934-5E41-4FB1-964A-63DEFC5F11D7}" dt="2020-05-06T18:22:05.455" v="2550" actId="962"/>
          <ac:picMkLst>
            <pc:docMk/>
            <pc:sldMk cId="3758389058" sldId="4452"/>
            <ac:picMk id="16" creationId="{F63472E3-6E13-45E0-B858-0E41C25DC84A}"/>
          </ac:picMkLst>
        </pc:picChg>
      </pc:sldChg>
      <pc:sldChg chg="addSp delSp modSp new mod setBg setClrOvrMap">
        <pc:chgData name="Michael" userId="85409873-b96b-4669-be5a-63f793ebbda5" providerId="ADAL" clId="{9B845934-5E41-4FB1-964A-63DEFC5F11D7}" dt="2020-05-06T18:01:39.762" v="2038" actId="962"/>
        <pc:sldMkLst>
          <pc:docMk/>
          <pc:sldMk cId="1967389866" sldId="4453"/>
        </pc:sldMkLst>
        <pc:spChg chg="mod">
          <ac:chgData name="Michael" userId="85409873-b96b-4669-be5a-63f793ebbda5" providerId="ADAL" clId="{9B845934-5E41-4FB1-964A-63DEFC5F11D7}" dt="2020-05-06T12:51:59.650" v="642" actId="26606"/>
          <ac:spMkLst>
            <pc:docMk/>
            <pc:sldMk cId="1967389866" sldId="4453"/>
            <ac:spMk id="2" creationId="{F53F7A01-3513-4DC5-96C0-992766F86FE1}"/>
          </ac:spMkLst>
        </pc:spChg>
        <pc:spChg chg="del mod">
          <ac:chgData name="Michael" userId="85409873-b96b-4669-be5a-63f793ebbda5" providerId="ADAL" clId="{9B845934-5E41-4FB1-964A-63DEFC5F11D7}" dt="2020-05-06T12:51:59.650" v="642" actId="26606"/>
          <ac:spMkLst>
            <pc:docMk/>
            <pc:sldMk cId="1967389866" sldId="4453"/>
            <ac:spMk id="3" creationId="{D6848350-B25D-4D75-B4F4-8C291C715BBD}"/>
          </ac:spMkLst>
        </pc:spChg>
        <pc:spChg chg="add mod">
          <ac:chgData name="Michael" userId="85409873-b96b-4669-be5a-63f793ebbda5" providerId="ADAL" clId="{9B845934-5E41-4FB1-964A-63DEFC5F11D7}" dt="2020-05-06T13:08:30.108" v="731" actId="20577"/>
          <ac:spMkLst>
            <pc:docMk/>
            <pc:sldMk cId="1967389866" sldId="4453"/>
            <ac:spMk id="8" creationId="{24D04779-5167-4595-B940-70D37747CD1C}"/>
          </ac:spMkLst>
        </pc:spChg>
        <pc:spChg chg="add">
          <ac:chgData name="Michael" userId="85409873-b96b-4669-be5a-63f793ebbda5" providerId="ADAL" clId="{9B845934-5E41-4FB1-964A-63DEFC5F11D7}" dt="2020-05-06T12:51:59.650" v="642" actId="26606"/>
          <ac:spMkLst>
            <pc:docMk/>
            <pc:sldMk cId="1967389866" sldId="4453"/>
            <ac:spMk id="11" creationId="{9228552E-C8B1-4A80-8448-0787CE0FC704}"/>
          </ac:spMkLst>
        </pc:spChg>
        <pc:graphicFrameChg chg="add mod">
          <ac:chgData name="Michael" userId="85409873-b96b-4669-be5a-63f793ebbda5" providerId="ADAL" clId="{9B845934-5E41-4FB1-964A-63DEFC5F11D7}" dt="2020-05-06T18:01:39.762" v="2038" actId="962"/>
          <ac:graphicFrameMkLst>
            <pc:docMk/>
            <pc:sldMk cId="1967389866" sldId="4453"/>
            <ac:graphicFrameMk id="5" creationId="{3B8C6FFD-E7C3-49D0-9DAB-37E21A5AF708}"/>
          </ac:graphicFrameMkLst>
        </pc:graphicFrameChg>
        <pc:picChg chg="add del mod">
          <ac:chgData name="Michael" userId="85409873-b96b-4669-be5a-63f793ebbda5" providerId="ADAL" clId="{9B845934-5E41-4FB1-964A-63DEFC5F11D7}" dt="2020-05-06T12:53:14.679" v="644" actId="478"/>
          <ac:picMkLst>
            <pc:docMk/>
            <pc:sldMk cId="1967389866" sldId="4453"/>
            <ac:picMk id="6" creationId="{756A1CAF-011A-4E1E-879E-1642A76329D4}"/>
          </ac:picMkLst>
        </pc:picChg>
        <pc:picChg chg="add mod">
          <ac:chgData name="Michael" userId="85409873-b96b-4669-be5a-63f793ebbda5" providerId="ADAL" clId="{9B845934-5E41-4FB1-964A-63DEFC5F11D7}" dt="2020-05-06T17:58:58.710" v="2034" actId="962"/>
          <ac:picMkLst>
            <pc:docMk/>
            <pc:sldMk cId="1967389866" sldId="4453"/>
            <ac:picMk id="7" creationId="{70523736-F505-4272-804C-6B637887F7EA}"/>
          </ac:picMkLst>
        </pc:picChg>
      </pc:sldChg>
      <pc:sldChg chg="modSp new del mod">
        <pc:chgData name="Michael" userId="85409873-b96b-4669-be5a-63f793ebbda5" providerId="ADAL" clId="{9B845934-5E41-4FB1-964A-63DEFC5F11D7}" dt="2020-05-06T15:56:04.231" v="1048" actId="47"/>
        <pc:sldMkLst>
          <pc:docMk/>
          <pc:sldMk cId="3471987064" sldId="4454"/>
        </pc:sldMkLst>
        <pc:spChg chg="mod">
          <ac:chgData name="Michael" userId="85409873-b96b-4669-be5a-63f793ebbda5" providerId="ADAL" clId="{9B845934-5E41-4FB1-964A-63DEFC5F11D7}" dt="2020-05-06T13:22:15.979" v="824" actId="20577"/>
          <ac:spMkLst>
            <pc:docMk/>
            <pc:sldMk cId="3471987064" sldId="4454"/>
            <ac:spMk id="2" creationId="{0BAD3BDF-F0FE-4ED5-90A3-F6E8A4B1BB01}"/>
          </ac:spMkLst>
        </pc:spChg>
        <pc:spChg chg="mod">
          <ac:chgData name="Michael" userId="85409873-b96b-4669-be5a-63f793ebbda5" providerId="ADAL" clId="{9B845934-5E41-4FB1-964A-63DEFC5F11D7}" dt="2020-05-06T13:26:30.528" v="1044" actId="20577"/>
          <ac:spMkLst>
            <pc:docMk/>
            <pc:sldMk cId="3471987064" sldId="4454"/>
            <ac:spMk id="3" creationId="{60A4A41F-F191-40B0-90AB-681029F36590}"/>
          </ac:spMkLst>
        </pc:spChg>
      </pc:sldChg>
      <pc:sldChg chg="modSp new del mod">
        <pc:chgData name="Michael" userId="85409873-b96b-4669-be5a-63f793ebbda5" providerId="ADAL" clId="{9B845934-5E41-4FB1-964A-63DEFC5F11D7}" dt="2020-05-06T16:49:44.025" v="1728" actId="47"/>
        <pc:sldMkLst>
          <pc:docMk/>
          <pc:sldMk cId="3725631646" sldId="4455"/>
        </pc:sldMkLst>
        <pc:spChg chg="mod">
          <ac:chgData name="Michael" userId="85409873-b96b-4669-be5a-63f793ebbda5" providerId="ADAL" clId="{9B845934-5E41-4FB1-964A-63DEFC5F11D7}" dt="2020-05-06T13:17:37.201" v="782" actId="20577"/>
          <ac:spMkLst>
            <pc:docMk/>
            <pc:sldMk cId="3725631646" sldId="4455"/>
            <ac:spMk id="3" creationId="{F7496B92-B035-40F2-A515-83C8703FDF17}"/>
          </ac:spMkLst>
        </pc:spChg>
      </pc:sldChg>
      <pc:sldChg chg="new add del">
        <pc:chgData name="Michael" userId="85409873-b96b-4669-be5a-63f793ebbda5" providerId="ADAL" clId="{9B845934-5E41-4FB1-964A-63DEFC5F11D7}" dt="2020-05-06T16:28:32.939" v="1125" actId="47"/>
        <pc:sldMkLst>
          <pc:docMk/>
          <pc:sldMk cId="3517442516" sldId="4456"/>
        </pc:sldMkLst>
      </pc:sldChg>
      <pc:sldChg chg="add del">
        <pc:chgData name="Michael" userId="85409873-b96b-4669-be5a-63f793ebbda5" providerId="ADAL" clId="{9B845934-5E41-4FB1-964A-63DEFC5F11D7}" dt="2020-05-06T16:12:14.603" v="1080"/>
        <pc:sldMkLst>
          <pc:docMk/>
          <pc:sldMk cId="3705038280" sldId="4457"/>
        </pc:sldMkLst>
      </pc:sldChg>
      <pc:sldChg chg="addSp delSp add del setBg delDesignElem">
        <pc:chgData name="Michael" userId="85409873-b96b-4669-be5a-63f793ebbda5" providerId="ADAL" clId="{9B845934-5E41-4FB1-964A-63DEFC5F11D7}" dt="2020-05-06T16:30:25.890" v="1131"/>
        <pc:sldMkLst>
          <pc:docMk/>
          <pc:sldMk cId="1942773433" sldId="4458"/>
        </pc:sldMkLst>
        <pc:spChg chg="add del">
          <ac:chgData name="Michael" userId="85409873-b96b-4669-be5a-63f793ebbda5" providerId="ADAL" clId="{9B845934-5E41-4FB1-964A-63DEFC5F11D7}" dt="2020-05-06T16:30:25.890" v="1131"/>
          <ac:spMkLst>
            <pc:docMk/>
            <pc:sldMk cId="1942773433" sldId="4458"/>
            <ac:spMk id="16" creationId="{0671A8AE-40A1-4631-A6B8-581AFF065482}"/>
          </ac:spMkLst>
        </pc:spChg>
        <pc:spChg chg="add del">
          <ac:chgData name="Michael" userId="85409873-b96b-4669-be5a-63f793ebbda5" providerId="ADAL" clId="{9B845934-5E41-4FB1-964A-63DEFC5F11D7}" dt="2020-05-06T16:30:25.890" v="1131"/>
          <ac:spMkLst>
            <pc:docMk/>
            <pc:sldMk cId="1942773433" sldId="4458"/>
            <ac:spMk id="18" creationId="{AB58EF07-17C2-48CF-ABB0-EEF1F17CB8F0}"/>
          </ac:spMkLst>
        </pc:spChg>
        <pc:spChg chg="add del">
          <ac:chgData name="Michael" userId="85409873-b96b-4669-be5a-63f793ebbda5" providerId="ADAL" clId="{9B845934-5E41-4FB1-964A-63DEFC5F11D7}" dt="2020-05-06T16:30:25.890" v="1131"/>
          <ac:spMkLst>
            <pc:docMk/>
            <pc:sldMk cId="1942773433" sldId="4458"/>
            <ac:spMk id="20" creationId="{AF2F604E-43BE-4DC3-B983-E071523364F8}"/>
          </ac:spMkLst>
        </pc:spChg>
        <pc:spChg chg="add del">
          <ac:chgData name="Michael" userId="85409873-b96b-4669-be5a-63f793ebbda5" providerId="ADAL" clId="{9B845934-5E41-4FB1-964A-63DEFC5F11D7}" dt="2020-05-06T16:30:25.890" v="1131"/>
          <ac:spMkLst>
            <pc:docMk/>
            <pc:sldMk cId="1942773433" sldId="4458"/>
            <ac:spMk id="22" creationId="{08C9B587-E65E-4B52-B37C-ABEBB6E87928}"/>
          </ac:spMkLst>
        </pc:spChg>
      </pc:sldChg>
      <pc:sldChg chg="modSp add mod">
        <pc:chgData name="Michael" userId="85409873-b96b-4669-be5a-63f793ebbda5" providerId="ADAL" clId="{9B845934-5E41-4FB1-964A-63DEFC5F11D7}" dt="2020-05-06T18:01:50.912" v="2039" actId="962"/>
        <pc:sldMkLst>
          <pc:docMk/>
          <pc:sldMk cId="3872942270" sldId="4458"/>
        </pc:sldMkLst>
        <pc:picChg chg="mod">
          <ac:chgData name="Michael" userId="85409873-b96b-4669-be5a-63f793ebbda5" providerId="ADAL" clId="{9B845934-5E41-4FB1-964A-63DEFC5F11D7}" dt="2020-05-06T18:01:50.912" v="2039" actId="962"/>
          <ac:picMkLst>
            <pc:docMk/>
            <pc:sldMk cId="3872942270" sldId="4458"/>
            <ac:picMk id="11" creationId="{53BE96C2-5877-4434-94A2-38C91E5F18A1}"/>
          </ac:picMkLst>
        </pc:picChg>
      </pc:sldChg>
      <pc:sldChg chg="addSp delSp modSp add mod setBg">
        <pc:chgData name="Michael" userId="85409873-b96b-4669-be5a-63f793ebbda5" providerId="ADAL" clId="{9B845934-5E41-4FB1-964A-63DEFC5F11D7}" dt="2020-05-06T16:53:57.513" v="1809" actId="108"/>
        <pc:sldMkLst>
          <pc:docMk/>
          <pc:sldMk cId="2148948919" sldId="4459"/>
        </pc:sldMkLst>
        <pc:spChg chg="mod">
          <ac:chgData name="Michael" userId="85409873-b96b-4669-be5a-63f793ebbda5" providerId="ADAL" clId="{9B845934-5E41-4FB1-964A-63DEFC5F11D7}" dt="2020-05-06T16:51:28.169" v="1761" actId="26606"/>
          <ac:spMkLst>
            <pc:docMk/>
            <pc:sldMk cId="2148948919" sldId="4459"/>
            <ac:spMk id="2" creationId="{F3C78331-E4CF-47E5-83BC-CFD46C95B0CD}"/>
          </ac:spMkLst>
        </pc:spChg>
        <pc:spChg chg="add del mod">
          <ac:chgData name="Michael" userId="85409873-b96b-4669-be5a-63f793ebbda5" providerId="ADAL" clId="{9B845934-5E41-4FB1-964A-63DEFC5F11D7}" dt="2020-05-06T16:51:28.169" v="1761" actId="26606"/>
          <ac:spMkLst>
            <pc:docMk/>
            <pc:sldMk cId="2148948919" sldId="4459"/>
            <ac:spMk id="3" creationId="{F7496B92-B035-40F2-A515-83C8703FDF17}"/>
          </ac:spMkLst>
        </pc:spChg>
        <pc:spChg chg="add">
          <ac:chgData name="Michael" userId="85409873-b96b-4669-be5a-63f793ebbda5" providerId="ADAL" clId="{9B845934-5E41-4FB1-964A-63DEFC5F11D7}" dt="2020-05-06T16:51:28.169" v="1761" actId="26606"/>
          <ac:spMkLst>
            <pc:docMk/>
            <pc:sldMk cId="2148948919" sldId="4459"/>
            <ac:spMk id="8" creationId="{F98ED85F-DCEE-4B50-802E-71A6E3E12B04}"/>
          </ac:spMkLst>
        </pc:spChg>
        <pc:spChg chg="add del">
          <ac:chgData name="Michael" userId="85409873-b96b-4669-be5a-63f793ebbda5" providerId="ADAL" clId="{9B845934-5E41-4FB1-964A-63DEFC5F11D7}" dt="2020-05-06T16:51:10.567" v="1750" actId="26606"/>
          <ac:spMkLst>
            <pc:docMk/>
            <pc:sldMk cId="2148948919" sldId="4459"/>
            <ac:spMk id="10" creationId="{3A5B4632-C963-4296-86F0-79AA9EA5AE98}"/>
          </ac:spMkLst>
        </pc:spChg>
        <pc:spChg chg="add del">
          <ac:chgData name="Michael" userId="85409873-b96b-4669-be5a-63f793ebbda5" providerId="ADAL" clId="{9B845934-5E41-4FB1-964A-63DEFC5F11D7}" dt="2020-05-06T16:51:13.340" v="1752" actId="26606"/>
          <ac:spMkLst>
            <pc:docMk/>
            <pc:sldMk cId="2148948919" sldId="4459"/>
            <ac:spMk id="12" creationId="{3A5B4632-C963-4296-86F0-79AA9EA5AE98}"/>
          </ac:spMkLst>
        </pc:spChg>
        <pc:spChg chg="add del">
          <ac:chgData name="Michael" userId="85409873-b96b-4669-be5a-63f793ebbda5" providerId="ADAL" clId="{9B845934-5E41-4FB1-964A-63DEFC5F11D7}" dt="2020-05-06T16:51:21.959" v="1756" actId="26606"/>
          <ac:spMkLst>
            <pc:docMk/>
            <pc:sldMk cId="2148948919" sldId="4459"/>
            <ac:spMk id="14" creationId="{7FF89E09-42FB-4694-96E4-95652B1D83E4}"/>
          </ac:spMkLst>
        </pc:spChg>
        <pc:spChg chg="add del">
          <ac:chgData name="Michael" userId="85409873-b96b-4669-be5a-63f793ebbda5" providerId="ADAL" clId="{9B845934-5E41-4FB1-964A-63DEFC5F11D7}" dt="2020-05-06T16:51:17.083" v="1754" actId="26606"/>
          <ac:spMkLst>
            <pc:docMk/>
            <pc:sldMk cId="2148948919" sldId="4459"/>
            <ac:spMk id="15" creationId="{3A5B4632-C963-4296-86F0-79AA9EA5AE98}"/>
          </ac:spMkLst>
        </pc:spChg>
        <pc:spChg chg="add del">
          <ac:chgData name="Michael" userId="85409873-b96b-4669-be5a-63f793ebbda5" providerId="ADAL" clId="{9B845934-5E41-4FB1-964A-63DEFC5F11D7}" dt="2020-05-06T16:51:21.959" v="1756" actId="26606"/>
          <ac:spMkLst>
            <pc:docMk/>
            <pc:sldMk cId="2148948919" sldId="4459"/>
            <ac:spMk id="18" creationId="{9F6F39C2-8746-4599-843B-CED156C408BF}"/>
          </ac:spMkLst>
        </pc:spChg>
        <pc:spChg chg="add del">
          <ac:chgData name="Michael" userId="85409873-b96b-4669-be5a-63f793ebbda5" providerId="ADAL" clId="{9B845934-5E41-4FB1-964A-63DEFC5F11D7}" dt="2020-05-06T16:51:21.959" v="1756" actId="26606"/>
          <ac:spMkLst>
            <pc:docMk/>
            <pc:sldMk cId="2148948919" sldId="4459"/>
            <ac:spMk id="19" creationId="{A5D714AD-9E94-4752-AA45-D4B0EAAB52E2}"/>
          </ac:spMkLst>
        </pc:spChg>
        <pc:spChg chg="add del">
          <ac:chgData name="Michael" userId="85409873-b96b-4669-be5a-63f793ebbda5" providerId="ADAL" clId="{9B845934-5E41-4FB1-964A-63DEFC5F11D7}" dt="2020-05-06T16:51:21.959" v="1756" actId="26606"/>
          <ac:spMkLst>
            <pc:docMk/>
            <pc:sldMk cId="2148948919" sldId="4459"/>
            <ac:spMk id="20" creationId="{25D3C032-881F-4579-A4BF-0FA966E9F350}"/>
          </ac:spMkLst>
        </pc:spChg>
        <pc:spChg chg="add del">
          <ac:chgData name="Michael" userId="85409873-b96b-4669-be5a-63f793ebbda5" providerId="ADAL" clId="{9B845934-5E41-4FB1-964A-63DEFC5F11D7}" dt="2020-05-06T16:51:23.793" v="1758" actId="26606"/>
          <ac:spMkLst>
            <pc:docMk/>
            <pc:sldMk cId="2148948919" sldId="4459"/>
            <ac:spMk id="23" creationId="{3A5B4632-C963-4296-86F0-79AA9EA5AE98}"/>
          </ac:spMkLst>
        </pc:spChg>
        <pc:spChg chg="add del">
          <ac:chgData name="Michael" userId="85409873-b96b-4669-be5a-63f793ebbda5" providerId="ADAL" clId="{9B845934-5E41-4FB1-964A-63DEFC5F11D7}" dt="2020-05-06T16:51:28.161" v="1760" actId="26606"/>
          <ac:spMkLst>
            <pc:docMk/>
            <pc:sldMk cId="2148948919" sldId="4459"/>
            <ac:spMk id="26" creationId="{3A5B4632-C963-4296-86F0-79AA9EA5AE98}"/>
          </ac:spMkLst>
        </pc:spChg>
        <pc:spChg chg="add mod">
          <ac:chgData name="Michael" userId="85409873-b96b-4669-be5a-63f793ebbda5" providerId="ADAL" clId="{9B845934-5E41-4FB1-964A-63DEFC5F11D7}" dt="2020-05-06T16:53:57.513" v="1809" actId="108"/>
          <ac:spMkLst>
            <pc:docMk/>
            <pc:sldMk cId="2148948919" sldId="4459"/>
            <ac:spMk id="30" creationId="{F7496B92-B035-40F2-A515-83C8703FDF17}"/>
          </ac:spMkLst>
        </pc:spChg>
        <pc:graphicFrameChg chg="add del">
          <ac:chgData name="Michael" userId="85409873-b96b-4669-be5a-63f793ebbda5" providerId="ADAL" clId="{9B845934-5E41-4FB1-964A-63DEFC5F11D7}" dt="2020-05-06T16:51:10.567" v="1750" actId="26606"/>
          <ac:graphicFrameMkLst>
            <pc:docMk/>
            <pc:sldMk cId="2148948919" sldId="4459"/>
            <ac:graphicFrameMk id="5" creationId="{686458F5-3785-4369-AD21-731540A35DAD}"/>
          </ac:graphicFrameMkLst>
        </pc:graphicFrameChg>
        <pc:graphicFrameChg chg="add del">
          <ac:chgData name="Michael" userId="85409873-b96b-4669-be5a-63f793ebbda5" providerId="ADAL" clId="{9B845934-5E41-4FB1-964A-63DEFC5F11D7}" dt="2020-05-06T16:51:13.340" v="1752" actId="26606"/>
          <ac:graphicFrameMkLst>
            <pc:docMk/>
            <pc:sldMk cId="2148948919" sldId="4459"/>
            <ac:graphicFrameMk id="13" creationId="{329CDC81-53E3-4515-A191-F7DA5C7D66A6}"/>
          </ac:graphicFrameMkLst>
        </pc:graphicFrameChg>
        <pc:graphicFrameChg chg="add del">
          <ac:chgData name="Michael" userId="85409873-b96b-4669-be5a-63f793ebbda5" providerId="ADAL" clId="{9B845934-5E41-4FB1-964A-63DEFC5F11D7}" dt="2020-05-06T16:51:17.083" v="1754" actId="26606"/>
          <ac:graphicFrameMkLst>
            <pc:docMk/>
            <pc:sldMk cId="2148948919" sldId="4459"/>
            <ac:graphicFrameMk id="16" creationId="{686458F5-3785-4369-AD21-731540A35DAD}"/>
          </ac:graphicFrameMkLst>
        </pc:graphicFrameChg>
        <pc:graphicFrameChg chg="add del">
          <ac:chgData name="Michael" userId="85409873-b96b-4669-be5a-63f793ebbda5" providerId="ADAL" clId="{9B845934-5E41-4FB1-964A-63DEFC5F11D7}" dt="2020-05-06T16:51:21.959" v="1756" actId="26606"/>
          <ac:graphicFrameMkLst>
            <pc:docMk/>
            <pc:sldMk cId="2148948919" sldId="4459"/>
            <ac:graphicFrameMk id="21" creationId="{30934158-1567-490C-9A86-CD9B06DFB163}"/>
          </ac:graphicFrameMkLst>
        </pc:graphicFrameChg>
        <pc:graphicFrameChg chg="add del">
          <ac:chgData name="Michael" userId="85409873-b96b-4669-be5a-63f793ebbda5" providerId="ADAL" clId="{9B845934-5E41-4FB1-964A-63DEFC5F11D7}" dt="2020-05-06T16:51:23.793" v="1758" actId="26606"/>
          <ac:graphicFrameMkLst>
            <pc:docMk/>
            <pc:sldMk cId="2148948919" sldId="4459"/>
            <ac:graphicFrameMk id="24" creationId="{5E6AFB1E-0CA9-4EEA-B4F5-6625520CD7CF}"/>
          </ac:graphicFrameMkLst>
        </pc:graphicFrameChg>
        <pc:graphicFrameChg chg="add del">
          <ac:chgData name="Michael" userId="85409873-b96b-4669-be5a-63f793ebbda5" providerId="ADAL" clId="{9B845934-5E41-4FB1-964A-63DEFC5F11D7}" dt="2020-05-06T16:51:28.161" v="1760" actId="26606"/>
          <ac:graphicFrameMkLst>
            <pc:docMk/>
            <pc:sldMk cId="2148948919" sldId="4459"/>
            <ac:graphicFrameMk id="27" creationId="{9BA3C60B-06F4-4D7E-ABB2-3F76C3915B07}"/>
          </ac:graphicFrameMkLst>
        </pc:graphicFrameChg>
        <pc:cxnChg chg="add">
          <ac:chgData name="Michael" userId="85409873-b96b-4669-be5a-63f793ebbda5" providerId="ADAL" clId="{9B845934-5E41-4FB1-964A-63DEFC5F11D7}" dt="2020-05-06T16:51:28.169" v="1761" actId="26606"/>
          <ac:cxnSpMkLst>
            <pc:docMk/>
            <pc:sldMk cId="2148948919" sldId="4459"/>
            <ac:cxnSpMk id="29" creationId="{E8E35B83-1EC3-4F87-9D54-D863463351B9}"/>
          </ac:cxnSpMkLst>
        </pc:cxnChg>
      </pc:sldChg>
      <pc:sldChg chg="add del">
        <pc:chgData name="Michael" userId="85409873-b96b-4669-be5a-63f793ebbda5" providerId="ADAL" clId="{9B845934-5E41-4FB1-964A-63DEFC5F11D7}" dt="2020-05-06T16:30:25.890" v="1131"/>
        <pc:sldMkLst>
          <pc:docMk/>
          <pc:sldMk cId="3821671395" sldId="4459"/>
        </pc:sldMkLst>
      </pc:sldChg>
      <pc:sldChg chg="add del">
        <pc:chgData name="Michael" userId="85409873-b96b-4669-be5a-63f793ebbda5" providerId="ADAL" clId="{9B845934-5E41-4FB1-964A-63DEFC5F11D7}" dt="2020-05-06T18:16:56.763" v="2079" actId="47"/>
        <pc:sldMkLst>
          <pc:docMk/>
          <pc:sldMk cId="2327442206" sldId="4460"/>
        </pc:sldMkLst>
      </pc:sldChg>
      <pc:sldChg chg="addSp delSp modSp new del mod setBg setClrOvrMap">
        <pc:chgData name="Michael" userId="85409873-b96b-4669-be5a-63f793ebbda5" providerId="ADAL" clId="{9B845934-5E41-4FB1-964A-63DEFC5F11D7}" dt="2020-05-06T18:16:48.530" v="2077" actId="47"/>
        <pc:sldMkLst>
          <pc:docMk/>
          <pc:sldMk cId="1498726101" sldId="4461"/>
        </pc:sldMkLst>
        <pc:spChg chg="mod">
          <ac:chgData name="Michael" userId="85409873-b96b-4669-be5a-63f793ebbda5" providerId="ADAL" clId="{9B845934-5E41-4FB1-964A-63DEFC5F11D7}" dt="2020-05-06T18:07:16.004" v="2063" actId="26606"/>
          <ac:spMkLst>
            <pc:docMk/>
            <pc:sldMk cId="1498726101" sldId="4461"/>
            <ac:spMk id="2" creationId="{D154FA70-5311-44CF-B31D-DCDB2FD35F88}"/>
          </ac:spMkLst>
        </pc:spChg>
        <pc:spChg chg="mod">
          <ac:chgData name="Michael" userId="85409873-b96b-4669-be5a-63f793ebbda5" providerId="ADAL" clId="{9B845934-5E41-4FB1-964A-63DEFC5F11D7}" dt="2020-05-06T18:07:16.004" v="2063" actId="26606"/>
          <ac:spMkLst>
            <pc:docMk/>
            <pc:sldMk cId="1498726101" sldId="4461"/>
            <ac:spMk id="3" creationId="{AC7D4516-2D7B-4224-9DF3-55F8643AE8D4}"/>
          </ac:spMkLst>
        </pc:spChg>
        <pc:spChg chg="add del">
          <ac:chgData name="Michael" userId="85409873-b96b-4669-be5a-63f793ebbda5" providerId="ADAL" clId="{9B845934-5E41-4FB1-964A-63DEFC5F11D7}" dt="2020-05-06T18:07:16.004" v="2063" actId="26606"/>
          <ac:spMkLst>
            <pc:docMk/>
            <pc:sldMk cId="1498726101" sldId="4461"/>
            <ac:spMk id="8" creationId="{2A8AA5BC-4F7A-4226-8F99-6D824B226A97}"/>
          </ac:spMkLst>
        </pc:spChg>
        <pc:spChg chg="add del">
          <ac:chgData name="Michael" userId="85409873-b96b-4669-be5a-63f793ebbda5" providerId="ADAL" clId="{9B845934-5E41-4FB1-964A-63DEFC5F11D7}" dt="2020-05-06T18:04:10.026" v="2046" actId="26606"/>
          <ac:spMkLst>
            <pc:docMk/>
            <pc:sldMk cId="1498726101" sldId="4461"/>
            <ac:spMk id="9" creationId="{1DB7C82F-AB7E-4F0C-B829-FA1B9C415180}"/>
          </ac:spMkLst>
        </pc:spChg>
        <pc:spChg chg="add del">
          <ac:chgData name="Michael" userId="85409873-b96b-4669-be5a-63f793ebbda5" providerId="ADAL" clId="{9B845934-5E41-4FB1-964A-63DEFC5F11D7}" dt="2020-05-06T18:07:16.004" v="2063" actId="26606"/>
          <ac:spMkLst>
            <pc:docMk/>
            <pc:sldMk cId="1498726101" sldId="4461"/>
            <ac:spMk id="10" creationId="{3E5445C6-DD42-4979-86FF-03730E8C6DB0}"/>
          </ac:spMkLst>
        </pc:spChg>
        <pc:spChg chg="add">
          <ac:chgData name="Michael" userId="85409873-b96b-4669-be5a-63f793ebbda5" providerId="ADAL" clId="{9B845934-5E41-4FB1-964A-63DEFC5F11D7}" dt="2020-05-06T18:07:16.004" v="2063" actId="26606"/>
          <ac:spMkLst>
            <pc:docMk/>
            <pc:sldMk cId="1498726101" sldId="4461"/>
            <ac:spMk id="17" creationId="{3EDD119B-6BFA-4C3F-90CE-97DAFD604ECC}"/>
          </ac:spMkLst>
        </pc:spChg>
        <pc:picChg chg="add del">
          <ac:chgData name="Michael" userId="85409873-b96b-4669-be5a-63f793ebbda5" providerId="ADAL" clId="{9B845934-5E41-4FB1-964A-63DEFC5F11D7}" dt="2020-05-06T18:04:10.026" v="2046" actId="26606"/>
          <ac:picMkLst>
            <pc:docMk/>
            <pc:sldMk cId="1498726101" sldId="4461"/>
            <ac:picMk id="5" creationId="{324DEDC2-9428-406E-A4AF-725E54278DFB}"/>
          </ac:picMkLst>
        </pc:picChg>
        <pc:cxnChg chg="add del">
          <ac:chgData name="Michael" userId="85409873-b96b-4669-be5a-63f793ebbda5" providerId="ADAL" clId="{9B845934-5E41-4FB1-964A-63DEFC5F11D7}" dt="2020-05-06T18:07:16.004" v="2063" actId="26606"/>
          <ac:cxnSpMkLst>
            <pc:docMk/>
            <pc:sldMk cId="1498726101" sldId="4461"/>
            <ac:cxnSpMk id="12" creationId="{45000665-DFC7-417E-8FD7-516A0F15C975}"/>
          </ac:cxnSpMkLst>
        </pc:cxnChg>
        <pc:cxnChg chg="add">
          <ac:chgData name="Michael" userId="85409873-b96b-4669-be5a-63f793ebbda5" providerId="ADAL" clId="{9B845934-5E41-4FB1-964A-63DEFC5F11D7}" dt="2020-05-06T18:07:16.004" v="2063" actId="26606"/>
          <ac:cxnSpMkLst>
            <pc:docMk/>
            <pc:sldMk cId="1498726101" sldId="4461"/>
            <ac:cxnSpMk id="19" creationId="{DC1572D0-F0FD-4D84-8F82-DC59140EB9BB}"/>
          </ac:cxnSpMkLst>
        </pc:cxnChg>
      </pc:sldChg>
      <pc:sldChg chg="modSp new del mod">
        <pc:chgData name="Michael" userId="85409873-b96b-4669-be5a-63f793ebbda5" providerId="ADAL" clId="{9B845934-5E41-4FB1-964A-63DEFC5F11D7}" dt="2020-05-06T18:16:50.910" v="2078" actId="47"/>
        <pc:sldMkLst>
          <pc:docMk/>
          <pc:sldMk cId="468439053" sldId="4462"/>
        </pc:sldMkLst>
        <pc:spChg chg="mod">
          <ac:chgData name="Michael" userId="85409873-b96b-4669-be5a-63f793ebbda5" providerId="ADAL" clId="{9B845934-5E41-4FB1-964A-63DEFC5F11D7}" dt="2020-05-06T18:08:58.713" v="2076" actId="20577"/>
          <ac:spMkLst>
            <pc:docMk/>
            <pc:sldMk cId="468439053" sldId="4462"/>
            <ac:spMk id="2" creationId="{CCB10446-E102-443D-8772-B287CA14129B}"/>
          </ac:spMkLst>
        </pc:spChg>
      </pc:sldChg>
    </pc:docChg>
  </pc:docChgLst>
  <pc:docChgLst>
    <pc:chgData name="Michael Vermeersch" userId="85409873-b96b-4669-be5a-63f793ebbda5" providerId="ADAL" clId="{81845351-3344-4B46-8B6D-F2C326BEA630}"/>
    <pc:docChg chg="modSld">
      <pc:chgData name="Michael Vermeersch" userId="85409873-b96b-4669-be5a-63f793ebbda5" providerId="ADAL" clId="{81845351-3344-4B46-8B6D-F2C326BEA630}" dt="2021-05-11T09:31:39.024" v="51" actId="20577"/>
      <pc:docMkLst>
        <pc:docMk/>
      </pc:docMkLst>
      <pc:sldChg chg="modSp mod">
        <pc:chgData name="Michael Vermeersch" userId="85409873-b96b-4669-be5a-63f793ebbda5" providerId="ADAL" clId="{81845351-3344-4B46-8B6D-F2C326BEA630}" dt="2021-05-11T09:31:39.024" v="51" actId="20577"/>
        <pc:sldMkLst>
          <pc:docMk/>
          <pc:sldMk cId="1310105821" sldId="1718"/>
        </pc:sldMkLst>
        <pc:spChg chg="mod">
          <ac:chgData name="Michael Vermeersch" userId="85409873-b96b-4669-be5a-63f793ebbda5" providerId="ADAL" clId="{81845351-3344-4B46-8B6D-F2C326BEA630}" dt="2021-05-11T09:31:39.024" v="51" actId="20577"/>
          <ac:spMkLst>
            <pc:docMk/>
            <pc:sldMk cId="1310105821" sldId="1718"/>
            <ac:spMk id="2" creationId="{00000000-0000-0000-0000-000000000000}"/>
          </ac:spMkLst>
        </pc:spChg>
      </pc:sldChg>
    </pc:docChg>
  </pc:docChgLst>
  <pc:docChgLst>
    <pc:chgData name="Michael Vermeersch" userId="85409873-b96b-4669-be5a-63f793ebbda5" providerId="ADAL" clId="{E6E3B84E-C077-447E-8403-0859D8A8092C}"/>
    <pc:docChg chg="undo redo custSel addSld delSld modSld sldOrd">
      <pc:chgData name="Michael Vermeersch" userId="85409873-b96b-4669-be5a-63f793ebbda5" providerId="ADAL" clId="{E6E3B84E-C077-447E-8403-0859D8A8092C}" dt="2021-05-11T14:45:29.420" v="282" actId="47"/>
      <pc:docMkLst>
        <pc:docMk/>
      </pc:docMkLst>
      <pc:sldChg chg="del">
        <pc:chgData name="Michael Vermeersch" userId="85409873-b96b-4669-be5a-63f793ebbda5" providerId="ADAL" clId="{E6E3B84E-C077-447E-8403-0859D8A8092C}" dt="2021-05-11T10:51:48.260" v="207" actId="47"/>
        <pc:sldMkLst>
          <pc:docMk/>
          <pc:sldMk cId="4240220607" sldId="259"/>
        </pc:sldMkLst>
      </pc:sldChg>
      <pc:sldChg chg="del">
        <pc:chgData name="Michael Vermeersch" userId="85409873-b96b-4669-be5a-63f793ebbda5" providerId="ADAL" clId="{E6E3B84E-C077-447E-8403-0859D8A8092C}" dt="2021-05-11T10:51:48.260" v="207" actId="47"/>
        <pc:sldMkLst>
          <pc:docMk/>
          <pc:sldMk cId="114747738" sldId="261"/>
        </pc:sldMkLst>
      </pc:sldChg>
      <pc:sldChg chg="ord">
        <pc:chgData name="Michael Vermeersch" userId="85409873-b96b-4669-be5a-63f793ebbda5" providerId="ADAL" clId="{E6E3B84E-C077-447E-8403-0859D8A8092C}" dt="2021-05-11T14:01:48.483" v="270"/>
        <pc:sldMkLst>
          <pc:docMk/>
          <pc:sldMk cId="3552316574" sldId="268"/>
        </pc:sldMkLst>
      </pc:sldChg>
      <pc:sldChg chg="del">
        <pc:chgData name="Michael Vermeersch" userId="85409873-b96b-4669-be5a-63f793ebbda5" providerId="ADAL" clId="{E6E3B84E-C077-447E-8403-0859D8A8092C}" dt="2021-05-11T10:51:48.260" v="207" actId="47"/>
        <pc:sldMkLst>
          <pc:docMk/>
          <pc:sldMk cId="1717520380" sldId="335"/>
        </pc:sldMkLst>
      </pc:sldChg>
      <pc:sldChg chg="del">
        <pc:chgData name="Michael Vermeersch" userId="85409873-b96b-4669-be5a-63f793ebbda5" providerId="ADAL" clId="{E6E3B84E-C077-447E-8403-0859D8A8092C}" dt="2021-05-11T10:51:48.260" v="207" actId="47"/>
        <pc:sldMkLst>
          <pc:docMk/>
          <pc:sldMk cId="4118482820" sldId="354"/>
        </pc:sldMkLst>
      </pc:sldChg>
      <pc:sldChg chg="del">
        <pc:chgData name="Michael Vermeersch" userId="85409873-b96b-4669-be5a-63f793ebbda5" providerId="ADAL" clId="{E6E3B84E-C077-447E-8403-0859D8A8092C}" dt="2021-05-11T10:51:48.260" v="207" actId="47"/>
        <pc:sldMkLst>
          <pc:docMk/>
          <pc:sldMk cId="4156828315" sldId="355"/>
        </pc:sldMkLst>
      </pc:sldChg>
      <pc:sldChg chg="add del">
        <pc:chgData name="Michael Vermeersch" userId="85409873-b96b-4669-be5a-63f793ebbda5" providerId="ADAL" clId="{E6E3B84E-C077-447E-8403-0859D8A8092C}" dt="2021-05-11T09:55:27.928" v="106"/>
        <pc:sldMkLst>
          <pc:docMk/>
          <pc:sldMk cId="683504300" sldId="588"/>
        </pc:sldMkLst>
      </pc:sldChg>
      <pc:sldChg chg="add del">
        <pc:chgData name="Michael Vermeersch" userId="85409873-b96b-4669-be5a-63f793ebbda5" providerId="ADAL" clId="{E6E3B84E-C077-447E-8403-0859D8A8092C}" dt="2021-05-11T09:55:27.928" v="106"/>
        <pc:sldMkLst>
          <pc:docMk/>
          <pc:sldMk cId="1667271502" sldId="589"/>
        </pc:sldMkLst>
      </pc:sldChg>
      <pc:sldChg chg="add del">
        <pc:chgData name="Michael Vermeersch" userId="85409873-b96b-4669-be5a-63f793ebbda5" providerId="ADAL" clId="{E6E3B84E-C077-447E-8403-0859D8A8092C}" dt="2021-05-11T09:55:27.928" v="106"/>
        <pc:sldMkLst>
          <pc:docMk/>
          <pc:sldMk cId="3220435698" sldId="591"/>
        </pc:sldMkLst>
      </pc:sldChg>
      <pc:sldChg chg="modSp mod">
        <pc:chgData name="Michael Vermeersch" userId="85409873-b96b-4669-be5a-63f793ebbda5" providerId="ADAL" clId="{E6E3B84E-C077-447E-8403-0859D8A8092C}" dt="2021-05-11T09:44:01.741" v="37" actId="20577"/>
        <pc:sldMkLst>
          <pc:docMk/>
          <pc:sldMk cId="1310105821" sldId="1718"/>
        </pc:sldMkLst>
        <pc:spChg chg="mod">
          <ac:chgData name="Michael Vermeersch" userId="85409873-b96b-4669-be5a-63f793ebbda5" providerId="ADAL" clId="{E6E3B84E-C077-447E-8403-0859D8A8092C}" dt="2021-05-11T09:44:01.741" v="37" actId="20577"/>
          <ac:spMkLst>
            <pc:docMk/>
            <pc:sldMk cId="1310105821" sldId="1718"/>
            <ac:spMk id="2" creationId="{00000000-0000-0000-0000-000000000000}"/>
          </ac:spMkLst>
        </pc:spChg>
      </pc:sldChg>
      <pc:sldChg chg="add del ord">
        <pc:chgData name="Michael Vermeersch" userId="85409873-b96b-4669-be5a-63f793ebbda5" providerId="ADAL" clId="{E6E3B84E-C077-447E-8403-0859D8A8092C}" dt="2021-05-11T14:00:45.255" v="268"/>
        <pc:sldMkLst>
          <pc:docMk/>
          <pc:sldMk cId="374647199" sldId="4321"/>
        </pc:sldMkLst>
      </pc:sldChg>
      <pc:sldChg chg="del">
        <pc:chgData name="Michael Vermeersch" userId="85409873-b96b-4669-be5a-63f793ebbda5" providerId="ADAL" clId="{E6E3B84E-C077-447E-8403-0859D8A8092C}" dt="2021-05-11T10:51:48.260" v="207" actId="47"/>
        <pc:sldMkLst>
          <pc:docMk/>
          <pc:sldMk cId="2687814757" sldId="4408"/>
        </pc:sldMkLst>
      </pc:sldChg>
      <pc:sldChg chg="add del">
        <pc:chgData name="Michael Vermeersch" userId="85409873-b96b-4669-be5a-63f793ebbda5" providerId="ADAL" clId="{E6E3B84E-C077-447E-8403-0859D8A8092C}" dt="2021-05-11T09:59:08.643" v="125"/>
        <pc:sldMkLst>
          <pc:docMk/>
          <pc:sldMk cId="417540835" sldId="4418"/>
        </pc:sldMkLst>
      </pc:sldChg>
      <pc:sldChg chg="del">
        <pc:chgData name="Michael Vermeersch" userId="85409873-b96b-4669-be5a-63f793ebbda5" providerId="ADAL" clId="{E6E3B84E-C077-447E-8403-0859D8A8092C}" dt="2021-05-11T10:51:48.260" v="207" actId="47"/>
        <pc:sldMkLst>
          <pc:docMk/>
          <pc:sldMk cId="1363255158" sldId="4448"/>
        </pc:sldMkLst>
      </pc:sldChg>
      <pc:sldChg chg="del">
        <pc:chgData name="Michael Vermeersch" userId="85409873-b96b-4669-be5a-63f793ebbda5" providerId="ADAL" clId="{E6E3B84E-C077-447E-8403-0859D8A8092C}" dt="2021-05-11T10:51:48.260" v="207" actId="47"/>
        <pc:sldMkLst>
          <pc:docMk/>
          <pc:sldMk cId="1020492903" sldId="4449"/>
        </pc:sldMkLst>
      </pc:sldChg>
      <pc:sldChg chg="del">
        <pc:chgData name="Michael Vermeersch" userId="85409873-b96b-4669-be5a-63f793ebbda5" providerId="ADAL" clId="{E6E3B84E-C077-447E-8403-0859D8A8092C}" dt="2021-05-11T10:51:48.260" v="207" actId="47"/>
        <pc:sldMkLst>
          <pc:docMk/>
          <pc:sldMk cId="3758389058" sldId="4452"/>
        </pc:sldMkLst>
      </pc:sldChg>
      <pc:sldChg chg="del">
        <pc:chgData name="Michael Vermeersch" userId="85409873-b96b-4669-be5a-63f793ebbda5" providerId="ADAL" clId="{E6E3B84E-C077-447E-8403-0859D8A8092C}" dt="2021-05-11T10:51:48.260" v="207" actId="47"/>
        <pc:sldMkLst>
          <pc:docMk/>
          <pc:sldMk cId="1967389866" sldId="4453"/>
        </pc:sldMkLst>
      </pc:sldChg>
      <pc:sldChg chg="del">
        <pc:chgData name="Michael Vermeersch" userId="85409873-b96b-4669-be5a-63f793ebbda5" providerId="ADAL" clId="{E6E3B84E-C077-447E-8403-0859D8A8092C}" dt="2021-05-11T10:51:48.260" v="207" actId="47"/>
        <pc:sldMkLst>
          <pc:docMk/>
          <pc:sldMk cId="3705038280" sldId="4457"/>
        </pc:sldMkLst>
      </pc:sldChg>
      <pc:sldChg chg="del">
        <pc:chgData name="Michael Vermeersch" userId="85409873-b96b-4669-be5a-63f793ebbda5" providerId="ADAL" clId="{E6E3B84E-C077-447E-8403-0859D8A8092C}" dt="2021-05-11T10:51:48.260" v="207" actId="47"/>
        <pc:sldMkLst>
          <pc:docMk/>
          <pc:sldMk cId="3872942270" sldId="4458"/>
        </pc:sldMkLst>
      </pc:sldChg>
      <pc:sldChg chg="add del">
        <pc:chgData name="Michael Vermeersch" userId="85409873-b96b-4669-be5a-63f793ebbda5" providerId="ADAL" clId="{E6E3B84E-C077-447E-8403-0859D8A8092C}" dt="2021-05-11T10:51:24.587" v="206"/>
        <pc:sldMkLst>
          <pc:docMk/>
          <pc:sldMk cId="2148948919" sldId="4459"/>
        </pc:sldMkLst>
      </pc:sldChg>
      <pc:sldChg chg="add del">
        <pc:chgData name="Michael Vermeersch" userId="85409873-b96b-4669-be5a-63f793ebbda5" providerId="ADAL" clId="{E6E3B84E-C077-447E-8403-0859D8A8092C}" dt="2021-05-11T09:55:27.928" v="106"/>
        <pc:sldMkLst>
          <pc:docMk/>
          <pc:sldMk cId="534755059" sldId="4779"/>
        </pc:sldMkLst>
      </pc:sldChg>
      <pc:sldChg chg="modSp add del mod">
        <pc:chgData name="Michael Vermeersch" userId="85409873-b96b-4669-be5a-63f793ebbda5" providerId="ADAL" clId="{E6E3B84E-C077-447E-8403-0859D8A8092C}" dt="2021-05-11T09:59:08.643" v="125"/>
        <pc:sldMkLst>
          <pc:docMk/>
          <pc:sldMk cId="4129982806" sldId="4785"/>
        </pc:sldMkLst>
        <pc:spChg chg="mod">
          <ac:chgData name="Michael Vermeersch" userId="85409873-b96b-4669-be5a-63f793ebbda5" providerId="ADAL" clId="{E6E3B84E-C077-447E-8403-0859D8A8092C}" dt="2021-05-11T09:59:08.483" v="124" actId="22"/>
          <ac:spMkLst>
            <pc:docMk/>
            <pc:sldMk cId="4129982806" sldId="4785"/>
            <ac:spMk id="3" creationId="{B90E4965-218A-4DAD-BD17-8A57F2965D16}"/>
          </ac:spMkLst>
        </pc:spChg>
      </pc:sldChg>
      <pc:sldChg chg="add del">
        <pc:chgData name="Michael Vermeersch" userId="85409873-b96b-4669-be5a-63f793ebbda5" providerId="ADAL" clId="{E6E3B84E-C077-447E-8403-0859D8A8092C}" dt="2021-05-11T09:59:08.643" v="125"/>
        <pc:sldMkLst>
          <pc:docMk/>
          <pc:sldMk cId="3271561913" sldId="4786"/>
        </pc:sldMkLst>
      </pc:sldChg>
      <pc:sldChg chg="add del">
        <pc:chgData name="Michael Vermeersch" userId="85409873-b96b-4669-be5a-63f793ebbda5" providerId="ADAL" clId="{E6E3B84E-C077-447E-8403-0859D8A8092C}" dt="2021-05-11T09:55:27.928" v="106"/>
        <pc:sldMkLst>
          <pc:docMk/>
          <pc:sldMk cId="1886975115" sldId="4874"/>
        </pc:sldMkLst>
      </pc:sldChg>
      <pc:sldChg chg="add del">
        <pc:chgData name="Michael Vermeersch" userId="85409873-b96b-4669-be5a-63f793ebbda5" providerId="ADAL" clId="{E6E3B84E-C077-447E-8403-0859D8A8092C}" dt="2021-05-11T09:55:27.928" v="106"/>
        <pc:sldMkLst>
          <pc:docMk/>
          <pc:sldMk cId="2301799873" sldId="4875"/>
        </pc:sldMkLst>
      </pc:sldChg>
      <pc:sldChg chg="add del">
        <pc:chgData name="Michael Vermeersch" userId="85409873-b96b-4669-be5a-63f793ebbda5" providerId="ADAL" clId="{E6E3B84E-C077-447E-8403-0859D8A8092C}" dt="2021-05-11T09:55:27.928" v="106"/>
        <pc:sldMkLst>
          <pc:docMk/>
          <pc:sldMk cId="6604384" sldId="4876"/>
        </pc:sldMkLst>
      </pc:sldChg>
      <pc:sldChg chg="add del">
        <pc:chgData name="Michael Vermeersch" userId="85409873-b96b-4669-be5a-63f793ebbda5" providerId="ADAL" clId="{E6E3B84E-C077-447E-8403-0859D8A8092C}" dt="2021-05-11T09:55:27.928" v="106"/>
        <pc:sldMkLst>
          <pc:docMk/>
          <pc:sldMk cId="946209358" sldId="4877"/>
        </pc:sldMkLst>
      </pc:sldChg>
      <pc:sldChg chg="add del">
        <pc:chgData name="Michael Vermeersch" userId="85409873-b96b-4669-be5a-63f793ebbda5" providerId="ADAL" clId="{E6E3B84E-C077-447E-8403-0859D8A8092C}" dt="2021-05-11T09:55:27.928" v="106"/>
        <pc:sldMkLst>
          <pc:docMk/>
          <pc:sldMk cId="1110977711" sldId="4878"/>
        </pc:sldMkLst>
      </pc:sldChg>
      <pc:sldChg chg="add del">
        <pc:chgData name="Michael Vermeersch" userId="85409873-b96b-4669-be5a-63f793ebbda5" providerId="ADAL" clId="{E6E3B84E-C077-447E-8403-0859D8A8092C}" dt="2021-05-11T09:59:08.643" v="125"/>
        <pc:sldMkLst>
          <pc:docMk/>
          <pc:sldMk cId="122907388" sldId="4882"/>
        </pc:sldMkLst>
      </pc:sldChg>
      <pc:sldChg chg="add del">
        <pc:chgData name="Michael Vermeersch" userId="85409873-b96b-4669-be5a-63f793ebbda5" providerId="ADAL" clId="{E6E3B84E-C077-447E-8403-0859D8A8092C}" dt="2021-05-11T09:59:08.643" v="125"/>
        <pc:sldMkLst>
          <pc:docMk/>
          <pc:sldMk cId="2589084374" sldId="4883"/>
        </pc:sldMkLst>
      </pc:sldChg>
      <pc:sldChg chg="add del">
        <pc:chgData name="Michael Vermeersch" userId="85409873-b96b-4669-be5a-63f793ebbda5" providerId="ADAL" clId="{E6E3B84E-C077-447E-8403-0859D8A8092C}" dt="2021-05-11T14:45:29.420" v="282" actId="47"/>
        <pc:sldMkLst>
          <pc:docMk/>
          <pc:sldMk cId="3813264436" sldId="4884"/>
        </pc:sldMkLst>
      </pc:sldChg>
      <pc:sldChg chg="add del">
        <pc:chgData name="Michael Vermeersch" userId="85409873-b96b-4669-be5a-63f793ebbda5" providerId="ADAL" clId="{E6E3B84E-C077-447E-8403-0859D8A8092C}" dt="2021-05-11T09:59:08.643" v="125"/>
        <pc:sldMkLst>
          <pc:docMk/>
          <pc:sldMk cId="2734863170" sldId="4885"/>
        </pc:sldMkLst>
      </pc:sldChg>
      <pc:sldChg chg="add del">
        <pc:chgData name="Michael Vermeersch" userId="85409873-b96b-4669-be5a-63f793ebbda5" providerId="ADAL" clId="{E6E3B84E-C077-447E-8403-0859D8A8092C}" dt="2021-05-11T14:19:38.416" v="274" actId="47"/>
        <pc:sldMkLst>
          <pc:docMk/>
          <pc:sldMk cId="1709756919" sldId="9647"/>
        </pc:sldMkLst>
      </pc:sldChg>
      <pc:sldChg chg="add del">
        <pc:chgData name="Michael Vermeersch" userId="85409873-b96b-4669-be5a-63f793ebbda5" providerId="ADAL" clId="{E6E3B84E-C077-447E-8403-0859D8A8092C}" dt="2021-05-11T10:51:24.587" v="206"/>
        <pc:sldMkLst>
          <pc:docMk/>
          <pc:sldMk cId="3734682760" sldId="10775"/>
        </pc:sldMkLst>
      </pc:sldChg>
      <pc:sldChg chg="del">
        <pc:chgData name="Michael Vermeersch" userId="85409873-b96b-4669-be5a-63f793ebbda5" providerId="ADAL" clId="{E6E3B84E-C077-447E-8403-0859D8A8092C}" dt="2021-05-11T10:51:48.260" v="207" actId="47"/>
        <pc:sldMkLst>
          <pc:docMk/>
          <pc:sldMk cId="2163055141" sldId="10776"/>
        </pc:sldMkLst>
      </pc:sldChg>
      <pc:sldChg chg="del">
        <pc:chgData name="Michael Vermeersch" userId="85409873-b96b-4669-be5a-63f793ebbda5" providerId="ADAL" clId="{E6E3B84E-C077-447E-8403-0859D8A8092C}" dt="2021-05-11T10:51:48.260" v="207" actId="47"/>
        <pc:sldMkLst>
          <pc:docMk/>
          <pc:sldMk cId="2519917104" sldId="2134806069"/>
        </pc:sldMkLst>
      </pc:sldChg>
      <pc:sldChg chg="del">
        <pc:chgData name="Michael Vermeersch" userId="85409873-b96b-4669-be5a-63f793ebbda5" providerId="ADAL" clId="{E6E3B84E-C077-447E-8403-0859D8A8092C}" dt="2021-05-11T10:51:48.260" v="207" actId="47"/>
        <pc:sldMkLst>
          <pc:docMk/>
          <pc:sldMk cId="4003777325" sldId="2141411280"/>
        </pc:sldMkLst>
      </pc:sldChg>
      <pc:sldChg chg="del">
        <pc:chgData name="Michael Vermeersch" userId="85409873-b96b-4669-be5a-63f793ebbda5" providerId="ADAL" clId="{E6E3B84E-C077-447E-8403-0859D8A8092C}" dt="2021-05-11T10:51:48.260" v="207" actId="47"/>
        <pc:sldMkLst>
          <pc:docMk/>
          <pc:sldMk cId="167108301" sldId="2141411281"/>
        </pc:sldMkLst>
      </pc:sldChg>
      <pc:sldChg chg="del">
        <pc:chgData name="Michael Vermeersch" userId="85409873-b96b-4669-be5a-63f793ebbda5" providerId="ADAL" clId="{E6E3B84E-C077-447E-8403-0859D8A8092C}" dt="2021-05-11T10:51:48.260" v="207" actId="47"/>
        <pc:sldMkLst>
          <pc:docMk/>
          <pc:sldMk cId="232221672" sldId="2141411282"/>
        </pc:sldMkLst>
      </pc:sldChg>
      <pc:sldChg chg="del">
        <pc:chgData name="Michael Vermeersch" userId="85409873-b96b-4669-be5a-63f793ebbda5" providerId="ADAL" clId="{E6E3B84E-C077-447E-8403-0859D8A8092C}" dt="2021-05-11T10:51:48.260" v="207" actId="47"/>
        <pc:sldMkLst>
          <pc:docMk/>
          <pc:sldMk cId="883298471" sldId="2141411283"/>
        </pc:sldMkLst>
      </pc:sldChg>
      <pc:sldChg chg="del">
        <pc:chgData name="Michael Vermeersch" userId="85409873-b96b-4669-be5a-63f793ebbda5" providerId="ADAL" clId="{E6E3B84E-C077-447E-8403-0859D8A8092C}" dt="2021-05-11T10:51:48.260" v="207" actId="47"/>
        <pc:sldMkLst>
          <pc:docMk/>
          <pc:sldMk cId="19614899" sldId="2141411284"/>
        </pc:sldMkLst>
      </pc:sldChg>
      <pc:sldChg chg="del">
        <pc:chgData name="Michael Vermeersch" userId="85409873-b96b-4669-be5a-63f793ebbda5" providerId="ADAL" clId="{E6E3B84E-C077-447E-8403-0859D8A8092C}" dt="2021-05-11T10:51:48.260" v="207" actId="47"/>
        <pc:sldMkLst>
          <pc:docMk/>
          <pc:sldMk cId="3964450879" sldId="2141411285"/>
        </pc:sldMkLst>
      </pc:sldChg>
      <pc:sldChg chg="del">
        <pc:chgData name="Michael Vermeersch" userId="85409873-b96b-4669-be5a-63f793ebbda5" providerId="ADAL" clId="{E6E3B84E-C077-447E-8403-0859D8A8092C}" dt="2021-05-11T10:51:48.260" v="207" actId="47"/>
        <pc:sldMkLst>
          <pc:docMk/>
          <pc:sldMk cId="3352926438" sldId="2141411286"/>
        </pc:sldMkLst>
      </pc:sldChg>
      <pc:sldChg chg="del">
        <pc:chgData name="Michael Vermeersch" userId="85409873-b96b-4669-be5a-63f793ebbda5" providerId="ADAL" clId="{E6E3B84E-C077-447E-8403-0859D8A8092C}" dt="2021-05-11T10:51:48.260" v="207" actId="47"/>
        <pc:sldMkLst>
          <pc:docMk/>
          <pc:sldMk cId="2806126825" sldId="2141411287"/>
        </pc:sldMkLst>
      </pc:sldChg>
      <pc:sldChg chg="modSp new del mod modShow">
        <pc:chgData name="Michael Vermeersch" userId="85409873-b96b-4669-be5a-63f793ebbda5" providerId="ADAL" clId="{E6E3B84E-C077-447E-8403-0859D8A8092C}" dt="2021-05-11T14:35:24.819" v="278" actId="47"/>
        <pc:sldMkLst>
          <pc:docMk/>
          <pc:sldMk cId="3344443014" sldId="2141411288"/>
        </pc:sldMkLst>
        <pc:spChg chg="mod">
          <ac:chgData name="Michael Vermeersch" userId="85409873-b96b-4669-be5a-63f793ebbda5" providerId="ADAL" clId="{E6E3B84E-C077-447E-8403-0859D8A8092C}" dt="2021-05-11T09:45:33.356" v="75" actId="20577"/>
          <ac:spMkLst>
            <pc:docMk/>
            <pc:sldMk cId="3344443014" sldId="2141411288"/>
            <ac:spMk id="2" creationId="{09560339-03DF-4775-8741-741AEC16F8D8}"/>
          </ac:spMkLst>
        </pc:spChg>
      </pc:sldChg>
      <pc:sldChg chg="modSp add del mod ord">
        <pc:chgData name="Michael Vermeersch" userId="85409873-b96b-4669-be5a-63f793ebbda5" providerId="ADAL" clId="{E6E3B84E-C077-447E-8403-0859D8A8092C}" dt="2021-05-11T14:36:17.188" v="281" actId="47"/>
        <pc:sldMkLst>
          <pc:docMk/>
          <pc:sldMk cId="4014488486" sldId="2141411289"/>
        </pc:sldMkLst>
        <pc:spChg chg="mod">
          <ac:chgData name="Michael Vermeersch" userId="85409873-b96b-4669-be5a-63f793ebbda5" providerId="ADAL" clId="{E6E3B84E-C077-447E-8403-0859D8A8092C}" dt="2021-05-11T09:52:47.540" v="101" actId="20577"/>
          <ac:spMkLst>
            <pc:docMk/>
            <pc:sldMk cId="4014488486" sldId="2141411289"/>
            <ac:spMk id="2" creationId="{09560339-03DF-4775-8741-741AEC16F8D8}"/>
          </ac:spMkLst>
        </pc:spChg>
      </pc:sldChg>
      <pc:sldChg chg="modSp add del mod ord">
        <pc:chgData name="Michael Vermeersch" userId="85409873-b96b-4669-be5a-63f793ebbda5" providerId="ADAL" clId="{E6E3B84E-C077-447E-8403-0859D8A8092C}" dt="2021-05-11T14:35:29.650" v="279" actId="47"/>
        <pc:sldMkLst>
          <pc:docMk/>
          <pc:sldMk cId="2222582472" sldId="2141411290"/>
        </pc:sldMkLst>
        <pc:spChg chg="mod">
          <ac:chgData name="Michael Vermeersch" userId="85409873-b96b-4669-be5a-63f793ebbda5" providerId="ADAL" clId="{E6E3B84E-C077-447E-8403-0859D8A8092C}" dt="2021-05-11T10:35:10.004" v="164" actId="20577"/>
          <ac:spMkLst>
            <pc:docMk/>
            <pc:sldMk cId="2222582472" sldId="2141411290"/>
            <ac:spMk id="2" creationId="{09560339-03DF-4775-8741-741AEC16F8D8}"/>
          </ac:spMkLst>
        </pc:spChg>
      </pc:sldChg>
      <pc:sldChg chg="addSp delSp modSp add del mod ord">
        <pc:chgData name="Michael Vermeersch" userId="85409873-b96b-4669-be5a-63f793ebbda5" providerId="ADAL" clId="{E6E3B84E-C077-447E-8403-0859D8A8092C}" dt="2021-05-11T14:35:34.117" v="280" actId="47"/>
        <pc:sldMkLst>
          <pc:docMk/>
          <pc:sldMk cId="838802853" sldId="2141411291"/>
        </pc:sldMkLst>
        <pc:spChg chg="mod">
          <ac:chgData name="Michael Vermeersch" userId="85409873-b96b-4669-be5a-63f793ebbda5" providerId="ADAL" clId="{E6E3B84E-C077-447E-8403-0859D8A8092C}" dt="2021-05-11T10:43:16.297" v="199" actId="20577"/>
          <ac:spMkLst>
            <pc:docMk/>
            <pc:sldMk cId="838802853" sldId="2141411291"/>
            <ac:spMk id="2" creationId="{09560339-03DF-4775-8741-741AEC16F8D8}"/>
          </ac:spMkLst>
        </pc:spChg>
        <pc:spChg chg="add del">
          <ac:chgData name="Michael Vermeersch" userId="85409873-b96b-4669-be5a-63f793ebbda5" providerId="ADAL" clId="{E6E3B84E-C077-447E-8403-0859D8A8092C}" dt="2021-05-11T10:51:02.540" v="201" actId="22"/>
          <ac:spMkLst>
            <pc:docMk/>
            <pc:sldMk cId="838802853" sldId="2141411291"/>
            <ac:spMk id="5" creationId="{EEA63864-9AE9-4AA7-BD78-838FC91B4D07}"/>
          </ac:spMkLst>
        </pc:spChg>
      </pc:sldChg>
      <pc:sldChg chg="add del">
        <pc:chgData name="Michael Vermeersch" userId="85409873-b96b-4669-be5a-63f793ebbda5" providerId="ADAL" clId="{E6E3B84E-C077-447E-8403-0859D8A8092C}" dt="2021-05-11T10:01:31.356" v="126" actId="47"/>
        <pc:sldMkLst>
          <pc:docMk/>
          <pc:sldMk cId="2083784066" sldId="2141411291"/>
        </pc:sldMkLst>
      </pc:sldChg>
      <pc:sldChg chg="modSp add del mod">
        <pc:chgData name="Michael Vermeersch" userId="85409873-b96b-4669-be5a-63f793ebbda5" providerId="ADAL" clId="{E6E3B84E-C077-447E-8403-0859D8A8092C}" dt="2021-05-11T09:59:08.483" v="124" actId="22"/>
        <pc:sldMkLst>
          <pc:docMk/>
          <pc:sldMk cId="2370533566" sldId="2141411291"/>
        </pc:sldMkLst>
        <pc:spChg chg="mod">
          <ac:chgData name="Michael Vermeersch" userId="85409873-b96b-4669-be5a-63f793ebbda5" providerId="ADAL" clId="{E6E3B84E-C077-447E-8403-0859D8A8092C}" dt="2021-05-11T09:59:08.483" v="124" actId="22"/>
          <ac:spMkLst>
            <pc:docMk/>
            <pc:sldMk cId="2370533566" sldId="2141411291"/>
            <ac:spMk id="2" creationId="{1AEF0EA0-B916-4AF1-A892-12553D6C2DCC}"/>
          </ac:spMkLst>
        </pc:spChg>
      </pc:sldChg>
      <pc:sldChg chg="add del">
        <pc:chgData name="Michael Vermeersch" userId="85409873-b96b-4669-be5a-63f793ebbda5" providerId="ADAL" clId="{E6E3B84E-C077-447E-8403-0859D8A8092C}" dt="2021-05-11T14:19:33.598" v="273" actId="47"/>
        <pc:sldMkLst>
          <pc:docMk/>
          <pc:sldMk cId="399337357" sldId="2141411292"/>
        </pc:sldMkLst>
      </pc:sldChg>
      <pc:sldChg chg="add del ord">
        <pc:chgData name="Michael Vermeersch" userId="85409873-b96b-4669-be5a-63f793ebbda5" providerId="ADAL" clId="{E6E3B84E-C077-447E-8403-0859D8A8092C}" dt="2021-05-11T10:35:36.407" v="169" actId="2890"/>
        <pc:sldMkLst>
          <pc:docMk/>
          <pc:sldMk cId="930193717" sldId="2141411292"/>
        </pc:sldMkLst>
      </pc:sldChg>
      <pc:sldChg chg="add del">
        <pc:chgData name="Michael Vermeersch" userId="85409873-b96b-4669-be5a-63f793ebbda5" providerId="ADAL" clId="{E6E3B84E-C077-447E-8403-0859D8A8092C}" dt="2021-05-11T10:51:24.360" v="205" actId="22"/>
        <pc:sldMkLst>
          <pc:docMk/>
          <pc:sldMk cId="4059036186" sldId="2141411292"/>
        </pc:sldMkLst>
      </pc:sldChg>
      <pc:sldChg chg="add">
        <pc:chgData name="Michael Vermeersch" userId="85409873-b96b-4669-be5a-63f793ebbda5" providerId="ADAL" clId="{E6E3B84E-C077-447E-8403-0859D8A8092C}" dt="2021-05-11T10:51:24.587" v="206"/>
        <pc:sldMkLst>
          <pc:docMk/>
          <pc:sldMk cId="1472910814" sldId="2141411293"/>
        </pc:sldMkLst>
      </pc:sldChg>
      <pc:sldChg chg="add del">
        <pc:chgData name="Michael Vermeersch" userId="85409873-b96b-4669-be5a-63f793ebbda5" providerId="ADAL" clId="{E6E3B84E-C077-447E-8403-0859D8A8092C}" dt="2021-05-11T10:51:24.360" v="205" actId="22"/>
        <pc:sldMkLst>
          <pc:docMk/>
          <pc:sldMk cId="2940563193" sldId="2141411293"/>
        </pc:sldMkLst>
      </pc:sldChg>
      <pc:sldChg chg="add del">
        <pc:chgData name="Michael Vermeersch" userId="85409873-b96b-4669-be5a-63f793ebbda5" providerId="ADAL" clId="{E6E3B84E-C077-447E-8403-0859D8A8092C}" dt="2021-05-11T14:28:38.923" v="275" actId="47"/>
        <pc:sldMkLst>
          <pc:docMk/>
          <pc:sldMk cId="2401215189" sldId="2141411294"/>
        </pc:sldMkLst>
      </pc:sldChg>
      <pc:sldChg chg="add del">
        <pc:chgData name="Michael Vermeersch" userId="85409873-b96b-4669-be5a-63f793ebbda5" providerId="ADAL" clId="{E6E3B84E-C077-447E-8403-0859D8A8092C}" dt="2021-05-11T10:51:24.360" v="205" actId="22"/>
        <pc:sldMkLst>
          <pc:docMk/>
          <pc:sldMk cId="4036736097" sldId="2141411294"/>
        </pc:sldMkLst>
      </pc:sldChg>
      <pc:sldChg chg="add del">
        <pc:chgData name="Michael Vermeersch" userId="85409873-b96b-4669-be5a-63f793ebbda5" providerId="ADAL" clId="{E6E3B84E-C077-447E-8403-0859D8A8092C}" dt="2021-05-11T10:51:24.360" v="205" actId="22"/>
        <pc:sldMkLst>
          <pc:docMk/>
          <pc:sldMk cId="628251694" sldId="2141411295"/>
        </pc:sldMkLst>
      </pc:sldChg>
      <pc:sldChg chg="add">
        <pc:chgData name="Michael Vermeersch" userId="85409873-b96b-4669-be5a-63f793ebbda5" providerId="ADAL" clId="{E6E3B84E-C077-447E-8403-0859D8A8092C}" dt="2021-05-11T10:51:24.587" v="206"/>
        <pc:sldMkLst>
          <pc:docMk/>
          <pc:sldMk cId="1609357558" sldId="2141411295"/>
        </pc:sldMkLst>
      </pc:sldChg>
      <pc:sldChg chg="add">
        <pc:chgData name="Michael Vermeersch" userId="85409873-b96b-4669-be5a-63f793ebbda5" providerId="ADAL" clId="{E6E3B84E-C077-447E-8403-0859D8A8092C}" dt="2021-05-11T10:51:24.587" v="206"/>
        <pc:sldMkLst>
          <pc:docMk/>
          <pc:sldMk cId="354848018" sldId="2141411296"/>
        </pc:sldMkLst>
      </pc:sldChg>
      <pc:sldChg chg="modSp add del mod">
        <pc:chgData name="Michael Vermeersch" userId="85409873-b96b-4669-be5a-63f793ebbda5" providerId="ADAL" clId="{E6E3B84E-C077-447E-8403-0859D8A8092C}" dt="2021-05-11T10:51:24.360" v="205" actId="22"/>
        <pc:sldMkLst>
          <pc:docMk/>
          <pc:sldMk cId="3321770083" sldId="2141411296"/>
        </pc:sldMkLst>
        <pc:spChg chg="mod">
          <ac:chgData name="Michael Vermeersch" userId="85409873-b96b-4669-be5a-63f793ebbda5" providerId="ADAL" clId="{E6E3B84E-C077-447E-8403-0859D8A8092C}" dt="2021-05-11T10:51:24.360" v="205" actId="22"/>
          <ac:spMkLst>
            <pc:docMk/>
            <pc:sldMk cId="3321770083" sldId="2141411296"/>
            <ac:spMk id="3" creationId="{6AAD66E1-E2B5-49EB-887C-A1D4A791A49A}"/>
          </ac:spMkLst>
        </pc:spChg>
      </pc:sldChg>
      <pc:sldChg chg="modSp add del mod">
        <pc:chgData name="Michael Vermeersch" userId="85409873-b96b-4669-be5a-63f793ebbda5" providerId="ADAL" clId="{E6E3B84E-C077-447E-8403-0859D8A8092C}" dt="2021-05-11T10:51:24.360" v="205" actId="22"/>
        <pc:sldMkLst>
          <pc:docMk/>
          <pc:sldMk cId="499512495" sldId="2141411297"/>
        </pc:sldMkLst>
        <pc:spChg chg="mod">
          <ac:chgData name="Michael Vermeersch" userId="85409873-b96b-4669-be5a-63f793ebbda5" providerId="ADAL" clId="{E6E3B84E-C077-447E-8403-0859D8A8092C}" dt="2021-05-11T10:51:24.360" v="205" actId="22"/>
          <ac:spMkLst>
            <pc:docMk/>
            <pc:sldMk cId="499512495" sldId="2141411297"/>
            <ac:spMk id="3" creationId="{6AAD66E1-E2B5-49EB-887C-A1D4A791A49A}"/>
          </ac:spMkLst>
        </pc:spChg>
      </pc:sldChg>
      <pc:sldChg chg="add">
        <pc:chgData name="Michael Vermeersch" userId="85409873-b96b-4669-be5a-63f793ebbda5" providerId="ADAL" clId="{E6E3B84E-C077-447E-8403-0859D8A8092C}" dt="2021-05-11T10:51:24.587" v="206"/>
        <pc:sldMkLst>
          <pc:docMk/>
          <pc:sldMk cId="724948198" sldId="2141411297"/>
        </pc:sldMkLst>
      </pc:sldChg>
      <pc:sldChg chg="add del">
        <pc:chgData name="Michael Vermeersch" userId="85409873-b96b-4669-be5a-63f793ebbda5" providerId="ADAL" clId="{E6E3B84E-C077-447E-8403-0859D8A8092C}" dt="2021-05-11T10:51:24.360" v="205" actId="22"/>
        <pc:sldMkLst>
          <pc:docMk/>
          <pc:sldMk cId="295857921" sldId="2141411298"/>
        </pc:sldMkLst>
      </pc:sldChg>
      <pc:sldChg chg="add del">
        <pc:chgData name="Michael Vermeersch" userId="85409873-b96b-4669-be5a-63f793ebbda5" providerId="ADAL" clId="{E6E3B84E-C077-447E-8403-0859D8A8092C}" dt="2021-05-11T14:30:02.806" v="276" actId="47"/>
        <pc:sldMkLst>
          <pc:docMk/>
          <pc:sldMk cId="2996804465" sldId="2141411298"/>
        </pc:sldMkLst>
      </pc:sldChg>
      <pc:sldChg chg="add del">
        <pc:chgData name="Michael Vermeersch" userId="85409873-b96b-4669-be5a-63f793ebbda5" providerId="ADAL" clId="{E6E3B84E-C077-447E-8403-0859D8A8092C}" dt="2021-05-11T10:51:24.587" v="206"/>
        <pc:sldMkLst>
          <pc:docMk/>
          <pc:sldMk cId="3549290014" sldId="2141411299"/>
        </pc:sldMkLst>
      </pc:sldChg>
      <pc:sldChg chg="add">
        <pc:chgData name="Michael Vermeersch" userId="85409873-b96b-4669-be5a-63f793ebbda5" providerId="ADAL" clId="{E6E3B84E-C077-447E-8403-0859D8A8092C}" dt="2021-05-11T10:51:24.587" v="206"/>
        <pc:sldMkLst>
          <pc:docMk/>
          <pc:sldMk cId="2218482752" sldId="2141411300"/>
        </pc:sldMkLst>
      </pc:sldChg>
      <pc:sldChg chg="add del">
        <pc:chgData name="Michael Vermeersch" userId="85409873-b96b-4669-be5a-63f793ebbda5" providerId="ADAL" clId="{E6E3B84E-C077-447E-8403-0859D8A8092C}" dt="2021-05-11T10:51:24.360" v="205" actId="22"/>
        <pc:sldMkLst>
          <pc:docMk/>
          <pc:sldMk cId="4282918338" sldId="2141411300"/>
        </pc:sldMkLst>
      </pc:sldChg>
      <pc:sldChg chg="modSp add del mod ord">
        <pc:chgData name="Michael Vermeersch" userId="85409873-b96b-4669-be5a-63f793ebbda5" providerId="ADAL" clId="{E6E3B84E-C077-447E-8403-0859D8A8092C}" dt="2021-05-11T14:35:20.883" v="277" actId="47"/>
        <pc:sldMkLst>
          <pc:docMk/>
          <pc:sldMk cId="2411435756" sldId="2141411301"/>
        </pc:sldMkLst>
        <pc:spChg chg="mod">
          <ac:chgData name="Michael Vermeersch" userId="85409873-b96b-4669-be5a-63f793ebbda5" providerId="ADAL" clId="{E6E3B84E-C077-447E-8403-0859D8A8092C}" dt="2021-05-11T11:12:56.646" v="266" actId="20577"/>
          <ac:spMkLst>
            <pc:docMk/>
            <pc:sldMk cId="2411435756" sldId="2141411301"/>
            <ac:spMk id="2" creationId="{09560339-03DF-4775-8741-741AEC16F8D8}"/>
          </ac:spMkLst>
        </pc:spChg>
      </pc:sldChg>
      <pc:sldMasterChg chg="addSldLayout delSldLayout modSldLayout">
        <pc:chgData name="Michael Vermeersch" userId="85409873-b96b-4669-be5a-63f793ebbda5" providerId="ADAL" clId="{E6E3B84E-C077-447E-8403-0859D8A8092C}" dt="2021-05-11T10:51:24.360" v="205" actId="22"/>
        <pc:sldMasterMkLst>
          <pc:docMk/>
          <pc:sldMasterMk cId="941945881" sldId="2147484073"/>
        </pc:sldMasterMkLst>
        <pc:sldLayoutChg chg="add del mod replId">
          <pc:chgData name="Michael Vermeersch" userId="85409873-b96b-4669-be5a-63f793ebbda5" providerId="ADAL" clId="{E6E3B84E-C077-447E-8403-0859D8A8092C}" dt="2021-05-11T09:55:27.788" v="105" actId="22"/>
          <pc:sldLayoutMkLst>
            <pc:docMk/>
            <pc:sldMasterMk cId="941945881" sldId="2147484073"/>
            <pc:sldLayoutMk cId="2731743849" sldId="2147484126"/>
          </pc:sldLayoutMkLst>
        </pc:sldLayoutChg>
        <pc:sldLayoutChg chg="add del mod replId">
          <pc:chgData name="Michael Vermeersch" userId="85409873-b96b-4669-be5a-63f793ebbda5" providerId="ADAL" clId="{E6E3B84E-C077-447E-8403-0859D8A8092C}" dt="2021-05-11T09:59:08.483" v="124" actId="22"/>
          <pc:sldLayoutMkLst>
            <pc:docMk/>
            <pc:sldMasterMk cId="941945881" sldId="2147484073"/>
            <pc:sldLayoutMk cId="2258602078" sldId="2147484127"/>
          </pc:sldLayoutMkLst>
        </pc:sldLayoutChg>
        <pc:sldLayoutChg chg="add del mod replId">
          <pc:chgData name="Michael Vermeersch" userId="85409873-b96b-4669-be5a-63f793ebbda5" providerId="ADAL" clId="{E6E3B84E-C077-447E-8403-0859D8A8092C}" dt="2021-05-11T10:51:24.360" v="205" actId="22"/>
          <pc:sldLayoutMkLst>
            <pc:docMk/>
            <pc:sldMasterMk cId="941945881" sldId="2147484073"/>
            <pc:sldLayoutMk cId="433625362" sldId="2147484151"/>
          </pc:sldLayoutMkLst>
        </pc:sldLayoutChg>
      </pc:sldMasterChg>
    </pc:docChg>
  </pc:docChgLst>
  <pc:docChgLst>
    <pc:chgData name="Michael Vermeersch" userId="85409873-b96b-4669-be5a-63f793ebbda5" providerId="ADAL" clId="{01EEC554-EEAC-4DFC-B8A5-8BBC9630F874}"/>
    <pc:docChg chg="delSld">
      <pc:chgData name="Michael Vermeersch" userId="85409873-b96b-4669-be5a-63f793ebbda5" providerId="ADAL" clId="{01EEC554-EEAC-4DFC-B8A5-8BBC9630F874}" dt="2021-04-19T18:47:55.394" v="0" actId="47"/>
      <pc:docMkLst>
        <pc:docMk/>
      </pc:docMkLst>
      <pc:sldChg chg="del">
        <pc:chgData name="Michael Vermeersch" userId="85409873-b96b-4669-be5a-63f793ebbda5" providerId="ADAL" clId="{01EEC554-EEAC-4DFC-B8A5-8BBC9630F874}" dt="2021-04-19T18:47:55.394" v="0" actId="47"/>
        <pc:sldMkLst>
          <pc:docMk/>
          <pc:sldMk cId="3955281702" sldId="4333"/>
        </pc:sldMkLst>
      </pc:sldChg>
    </pc:docChg>
  </pc:docChgLst>
  <pc:docChgLst>
    <pc:chgData name="Michael Vermeersch" userId="85409873-b96b-4669-be5a-63f793ebbda5" providerId="ADAL" clId="{21ACB9C0-9ADB-43BC-B519-420AFDC52347}"/>
    <pc:docChg chg="undo custSel mod addSld delSld modSld sldOrd addMainMaster modMainMaster">
      <pc:chgData name="Michael Vermeersch" userId="85409873-b96b-4669-be5a-63f793ebbda5" providerId="ADAL" clId="{21ACB9C0-9ADB-43BC-B519-420AFDC52347}" dt="2020-11-12T13:27:58.216" v="727" actId="20577"/>
      <pc:docMkLst>
        <pc:docMk/>
      </pc:docMkLst>
      <pc:sldChg chg="addSp modSp add mod modTransition">
        <pc:chgData name="Michael Vermeersch" userId="85409873-b96b-4669-be5a-63f793ebbda5" providerId="ADAL" clId="{21ACB9C0-9ADB-43BC-B519-420AFDC52347}" dt="2020-11-11T14:22:52.966" v="221" actId="962"/>
        <pc:sldMkLst>
          <pc:docMk/>
          <pc:sldMk cId="0" sldId="257"/>
        </pc:sldMkLst>
        <pc:spChg chg="add mod">
          <ac:chgData name="Michael Vermeersch" userId="85409873-b96b-4669-be5a-63f793ebbda5" providerId="ADAL" clId="{21ACB9C0-9ADB-43BC-B519-420AFDC52347}" dt="2020-11-11T14:22:38.929" v="207" actId="13244"/>
          <ac:spMkLst>
            <pc:docMk/>
            <pc:sldMk cId="0" sldId="257"/>
            <ac:spMk id="2" creationId="{DD90548C-ED50-4C64-9DC4-62D20990B5EF}"/>
          </ac:spMkLst>
        </pc:spChg>
        <pc:picChg chg="mod">
          <ac:chgData name="Michael Vermeersch" userId="85409873-b96b-4669-be5a-63f793ebbda5" providerId="ADAL" clId="{21ACB9C0-9ADB-43BC-B519-420AFDC52347}" dt="2020-11-11T14:20:58.618" v="182" actId="962"/>
          <ac:picMkLst>
            <pc:docMk/>
            <pc:sldMk cId="0" sldId="257"/>
            <ac:picMk id="121" creationId="{00000000-0000-0000-0000-000000000000}"/>
          </ac:picMkLst>
        </pc:picChg>
        <pc:picChg chg="mod">
          <ac:chgData name="Michael Vermeersch" userId="85409873-b96b-4669-be5a-63f793ebbda5" providerId="ADAL" clId="{21ACB9C0-9ADB-43BC-B519-420AFDC52347}" dt="2020-11-11T14:22:52.966" v="221" actId="962"/>
          <ac:picMkLst>
            <pc:docMk/>
            <pc:sldMk cId="0" sldId="257"/>
            <ac:picMk id="122" creationId="{00000000-0000-0000-0000-000000000000}"/>
          </ac:picMkLst>
        </pc:picChg>
      </pc:sldChg>
      <pc:sldChg chg="modSp mod modShow">
        <pc:chgData name="Michael Vermeersch" userId="85409873-b96b-4669-be5a-63f793ebbda5" providerId="ADAL" clId="{21ACB9C0-9ADB-43BC-B519-420AFDC52347}" dt="2020-11-12T13:27:58.216" v="727" actId="20577"/>
        <pc:sldMkLst>
          <pc:docMk/>
          <pc:sldMk cId="1310105821" sldId="1718"/>
        </pc:sldMkLst>
        <pc:spChg chg="mod">
          <ac:chgData name="Michael Vermeersch" userId="85409873-b96b-4669-be5a-63f793ebbda5" providerId="ADAL" clId="{21ACB9C0-9ADB-43BC-B519-420AFDC52347}" dt="2020-11-12T13:27:58.216" v="727" actId="20577"/>
          <ac:spMkLst>
            <pc:docMk/>
            <pc:sldMk cId="1310105821" sldId="1718"/>
            <ac:spMk id="3" creationId="{9893997B-987F-4526-AB96-80D26393E500}"/>
          </ac:spMkLst>
        </pc:spChg>
      </pc:sldChg>
      <pc:sldChg chg="mod modShow">
        <pc:chgData name="Michael Vermeersch" userId="85409873-b96b-4669-be5a-63f793ebbda5" providerId="ADAL" clId="{21ACB9C0-9ADB-43BC-B519-420AFDC52347}" dt="2020-11-11T14:19:38.174" v="122" actId="729"/>
        <pc:sldMkLst>
          <pc:docMk/>
          <pc:sldMk cId="1786828944" sldId="4447"/>
        </pc:sldMkLst>
      </pc:sldChg>
      <pc:sldChg chg="modSp">
        <pc:chgData name="Michael Vermeersch" userId="85409873-b96b-4669-be5a-63f793ebbda5" providerId="ADAL" clId="{21ACB9C0-9ADB-43BC-B519-420AFDC52347}" dt="2020-11-11T14:48:35.635" v="390" actId="20577"/>
        <pc:sldMkLst>
          <pc:docMk/>
          <pc:sldMk cId="3758389058" sldId="4452"/>
        </pc:sldMkLst>
        <pc:spChg chg="mod">
          <ac:chgData name="Michael Vermeersch" userId="85409873-b96b-4669-be5a-63f793ebbda5" providerId="ADAL" clId="{21ACB9C0-9ADB-43BC-B519-420AFDC52347}" dt="2020-11-11T14:48:35.635" v="390" actId="20577"/>
          <ac:spMkLst>
            <pc:docMk/>
            <pc:sldMk cId="3758389058" sldId="4452"/>
            <ac:spMk id="17" creationId="{1186C2BF-F2BF-4537-9B65-1AF4597BEE5A}"/>
          </ac:spMkLst>
        </pc:spChg>
      </pc:sldChg>
      <pc:sldChg chg="modSp add mod">
        <pc:chgData name="Michael Vermeersch" userId="85409873-b96b-4669-be5a-63f793ebbda5" providerId="ADAL" clId="{21ACB9C0-9ADB-43BC-B519-420AFDC52347}" dt="2020-11-11T14:22:07.361" v="206" actId="962"/>
        <pc:sldMkLst>
          <pc:docMk/>
          <pc:sldMk cId="0" sldId="4460"/>
        </pc:sldMkLst>
        <pc:spChg chg="mod">
          <ac:chgData name="Michael Vermeersch" userId="85409873-b96b-4669-be5a-63f793ebbda5" providerId="ADAL" clId="{21ACB9C0-9ADB-43BC-B519-420AFDC52347}" dt="2020-11-11T14:21:41.434" v="192" actId="13244"/>
          <ac:spMkLst>
            <pc:docMk/>
            <pc:sldMk cId="0" sldId="4460"/>
            <ac:spMk id="138" creationId="{00000000-0000-0000-0000-000000000000}"/>
          </ac:spMkLst>
        </pc:spChg>
        <pc:picChg chg="mod">
          <ac:chgData name="Michael Vermeersch" userId="85409873-b96b-4669-be5a-63f793ebbda5" providerId="ADAL" clId="{21ACB9C0-9ADB-43BC-B519-420AFDC52347}" dt="2020-11-11T14:20:35.731" v="181" actId="962"/>
          <ac:picMkLst>
            <pc:docMk/>
            <pc:sldMk cId="0" sldId="4460"/>
            <ac:picMk id="136" creationId="{00000000-0000-0000-0000-000000000000}"/>
          </ac:picMkLst>
        </pc:picChg>
        <pc:picChg chg="mod">
          <ac:chgData name="Michael Vermeersch" userId="85409873-b96b-4669-be5a-63f793ebbda5" providerId="ADAL" clId="{21ACB9C0-9ADB-43BC-B519-420AFDC52347}" dt="2020-11-11T14:22:07.361" v="206" actId="962"/>
          <ac:picMkLst>
            <pc:docMk/>
            <pc:sldMk cId="0" sldId="4460"/>
            <ac:picMk id="137" creationId="{00000000-0000-0000-0000-000000000000}"/>
          </ac:picMkLst>
        </pc:picChg>
      </pc:sldChg>
      <pc:sldChg chg="addSp modSp add mod ord">
        <pc:chgData name="Michael Vermeersch" userId="85409873-b96b-4669-be5a-63f793ebbda5" providerId="ADAL" clId="{21ACB9C0-9ADB-43BC-B519-420AFDC52347}" dt="2020-11-11T15:14:03.076" v="602" actId="962"/>
        <pc:sldMkLst>
          <pc:docMk/>
          <pc:sldMk cId="3380254755" sldId="4461"/>
        </pc:sldMkLst>
        <pc:spChg chg="add mod">
          <ac:chgData name="Michael Vermeersch" userId="85409873-b96b-4669-be5a-63f793ebbda5" providerId="ADAL" clId="{21ACB9C0-9ADB-43BC-B519-420AFDC52347}" dt="2020-11-11T15:10:32.449" v="534" actId="20577"/>
          <ac:spMkLst>
            <pc:docMk/>
            <pc:sldMk cId="3380254755" sldId="4461"/>
            <ac:spMk id="3" creationId="{9F7E092D-C2BB-42B4-A469-2F0D8CB28F41}"/>
          </ac:spMkLst>
        </pc:spChg>
        <pc:picChg chg="add mod">
          <ac:chgData name="Michael Vermeersch" userId="85409873-b96b-4669-be5a-63f793ebbda5" providerId="ADAL" clId="{21ACB9C0-9ADB-43BC-B519-420AFDC52347}" dt="2020-11-11T15:14:03.076" v="602" actId="962"/>
          <ac:picMkLst>
            <pc:docMk/>
            <pc:sldMk cId="3380254755" sldId="4461"/>
            <ac:picMk id="5" creationId="{C8A288D0-F659-4A0A-8DE1-277652D85E37}"/>
          </ac:picMkLst>
        </pc:picChg>
      </pc:sldChg>
      <pc:sldChg chg="modSp add del mod">
        <pc:chgData name="Michael Vermeersch" userId="85409873-b96b-4669-be5a-63f793ebbda5" providerId="ADAL" clId="{21ACB9C0-9ADB-43BC-B519-420AFDC52347}" dt="2020-11-11T15:11:18.771" v="558" actId="20577"/>
        <pc:sldMkLst>
          <pc:docMk/>
          <pc:sldMk cId="259600639" sldId="10433"/>
        </pc:sldMkLst>
        <pc:spChg chg="mod">
          <ac:chgData name="Michael Vermeersch" userId="85409873-b96b-4669-be5a-63f793ebbda5" providerId="ADAL" clId="{21ACB9C0-9ADB-43BC-B519-420AFDC52347}" dt="2020-11-11T15:11:18.771" v="558" actId="20577"/>
          <ac:spMkLst>
            <pc:docMk/>
            <pc:sldMk cId="259600639" sldId="10433"/>
            <ac:spMk id="2" creationId="{EA8ED62E-1058-417A-8B8A-891FC3380C23}"/>
          </ac:spMkLst>
        </pc:spChg>
      </pc:sldChg>
      <pc:sldChg chg="addSp modSp add mod setClrOvrMap">
        <pc:chgData name="Michael Vermeersch" userId="85409873-b96b-4669-be5a-63f793ebbda5" providerId="ADAL" clId="{21ACB9C0-9ADB-43BC-B519-420AFDC52347}" dt="2020-11-11T15:09:47.713" v="523" actId="20577"/>
        <pc:sldMkLst>
          <pc:docMk/>
          <pc:sldMk cId="620689474" sldId="10445"/>
        </pc:sldMkLst>
        <pc:spChg chg="mod">
          <ac:chgData name="Michael Vermeersch" userId="85409873-b96b-4669-be5a-63f793ebbda5" providerId="ADAL" clId="{21ACB9C0-9ADB-43BC-B519-420AFDC52347}" dt="2020-11-11T15:09:47.713" v="523" actId="20577"/>
          <ac:spMkLst>
            <pc:docMk/>
            <pc:sldMk cId="620689474" sldId="10445"/>
            <ac:spMk id="2" creationId="{DF1E8150-2832-456B-A34D-F32149E3B3CE}"/>
          </ac:spMkLst>
        </pc:spChg>
        <pc:spChg chg="add">
          <ac:chgData name="Michael Vermeersch" userId="85409873-b96b-4669-be5a-63f793ebbda5" providerId="ADAL" clId="{21ACB9C0-9ADB-43BC-B519-420AFDC52347}" dt="2020-11-11T15:09:35.303" v="512" actId="26606"/>
          <ac:spMkLst>
            <pc:docMk/>
            <pc:sldMk cId="620689474" sldId="10445"/>
            <ac:spMk id="10" creationId="{0671A8AE-40A1-4631-A6B8-581AFF065482}"/>
          </ac:spMkLst>
        </pc:spChg>
        <pc:spChg chg="add">
          <ac:chgData name="Michael Vermeersch" userId="85409873-b96b-4669-be5a-63f793ebbda5" providerId="ADAL" clId="{21ACB9C0-9ADB-43BC-B519-420AFDC52347}" dt="2020-11-11T15:09:35.303" v="512" actId="26606"/>
          <ac:spMkLst>
            <pc:docMk/>
            <pc:sldMk cId="620689474" sldId="10445"/>
            <ac:spMk id="12" creationId="{AB58EF07-17C2-48CF-ABB0-EEF1F17CB8F0}"/>
          </ac:spMkLst>
        </pc:spChg>
        <pc:spChg chg="add">
          <ac:chgData name="Michael Vermeersch" userId="85409873-b96b-4669-be5a-63f793ebbda5" providerId="ADAL" clId="{21ACB9C0-9ADB-43BC-B519-420AFDC52347}" dt="2020-11-11T15:09:35.303" v="512" actId="26606"/>
          <ac:spMkLst>
            <pc:docMk/>
            <pc:sldMk cId="620689474" sldId="10445"/>
            <ac:spMk id="14" creationId="{AF2F604E-43BE-4DC3-B983-E071523364F8}"/>
          </ac:spMkLst>
        </pc:spChg>
        <pc:spChg chg="add">
          <ac:chgData name="Michael Vermeersch" userId="85409873-b96b-4669-be5a-63f793ebbda5" providerId="ADAL" clId="{21ACB9C0-9ADB-43BC-B519-420AFDC52347}" dt="2020-11-11T15:09:35.303" v="512" actId="26606"/>
          <ac:spMkLst>
            <pc:docMk/>
            <pc:sldMk cId="620689474" sldId="10445"/>
            <ac:spMk id="16" creationId="{08C9B587-E65E-4B52-B37C-ABEBB6E87928}"/>
          </ac:spMkLst>
        </pc:spChg>
        <pc:graphicFrameChg chg="modGraphic">
          <ac:chgData name="Michael Vermeersch" userId="85409873-b96b-4669-be5a-63f793ebbda5" providerId="ADAL" clId="{21ACB9C0-9ADB-43BC-B519-420AFDC52347}" dt="2020-11-11T15:09:35.303" v="512" actId="26606"/>
          <ac:graphicFrameMkLst>
            <pc:docMk/>
            <pc:sldMk cId="620689474" sldId="10445"/>
            <ac:graphicFrameMk id="5" creationId="{B3A4B7AE-D9C9-4F96-B394-7AABC50A4B16}"/>
          </ac:graphicFrameMkLst>
        </pc:graphicFrameChg>
      </pc:sldChg>
      <pc:sldChg chg="addSp new del mod">
        <pc:chgData name="Michael Vermeersch" userId="85409873-b96b-4669-be5a-63f793ebbda5" providerId="ADAL" clId="{21ACB9C0-9ADB-43BC-B519-420AFDC52347}" dt="2020-11-11T19:14:26.962" v="629" actId="47"/>
        <pc:sldMkLst>
          <pc:docMk/>
          <pc:sldMk cId="666682579" sldId="10446"/>
        </pc:sldMkLst>
        <pc:picChg chg="add">
          <ac:chgData name="Michael Vermeersch" userId="85409873-b96b-4669-be5a-63f793ebbda5" providerId="ADAL" clId="{21ACB9C0-9ADB-43BC-B519-420AFDC52347}" dt="2020-11-11T15:12:28.614" v="560" actId="22"/>
          <ac:picMkLst>
            <pc:docMk/>
            <pc:sldMk cId="666682579" sldId="10446"/>
            <ac:picMk id="3" creationId="{7ADF700F-AD88-4365-9090-8175D9C39784}"/>
          </ac:picMkLst>
        </pc:picChg>
      </pc:sldChg>
      <pc:sldChg chg="new del">
        <pc:chgData name="Michael Vermeersch" userId="85409873-b96b-4669-be5a-63f793ebbda5" providerId="ADAL" clId="{21ACB9C0-9ADB-43BC-B519-420AFDC52347}" dt="2020-11-11T19:09:31.319" v="622" actId="47"/>
        <pc:sldMkLst>
          <pc:docMk/>
          <pc:sldMk cId="493746852" sldId="10447"/>
        </pc:sldMkLst>
      </pc:sldChg>
      <pc:sldChg chg="modSp new del mod">
        <pc:chgData name="Michael Vermeersch" userId="85409873-b96b-4669-be5a-63f793ebbda5" providerId="ADAL" clId="{21ACB9C0-9ADB-43BC-B519-420AFDC52347}" dt="2020-11-11T18:45:40.215" v="619" actId="47"/>
        <pc:sldMkLst>
          <pc:docMk/>
          <pc:sldMk cId="578814640" sldId="10447"/>
        </pc:sldMkLst>
        <pc:spChg chg="mod">
          <ac:chgData name="Michael Vermeersch" userId="85409873-b96b-4669-be5a-63f793ebbda5" providerId="ADAL" clId="{21ACB9C0-9ADB-43BC-B519-420AFDC52347}" dt="2020-11-11T16:56:04.756" v="610" actId="20577"/>
          <ac:spMkLst>
            <pc:docMk/>
            <pc:sldMk cId="578814640" sldId="10447"/>
            <ac:spMk id="2" creationId="{994E9D04-5AAA-461F-B09A-A9C31542E92C}"/>
          </ac:spMkLst>
        </pc:spChg>
      </pc:sldChg>
      <pc:sldChg chg="addSp modSp new mod setBg">
        <pc:chgData name="Michael Vermeersch" userId="85409873-b96b-4669-be5a-63f793ebbda5" providerId="ADAL" clId="{21ACB9C0-9ADB-43BC-B519-420AFDC52347}" dt="2020-11-11T19:15:21.762" v="719" actId="20577"/>
        <pc:sldMkLst>
          <pc:docMk/>
          <pc:sldMk cId="1431020212" sldId="10447"/>
        </pc:sldMkLst>
        <pc:spChg chg="add mod">
          <ac:chgData name="Michael Vermeersch" userId="85409873-b96b-4669-be5a-63f793ebbda5" providerId="ADAL" clId="{21ACB9C0-9ADB-43BC-B519-420AFDC52347}" dt="2020-11-11T19:15:21.762" v="719" actId="20577"/>
          <ac:spMkLst>
            <pc:docMk/>
            <pc:sldMk cId="1431020212" sldId="10447"/>
            <ac:spMk id="4" creationId="{A014855A-4FFC-43D0-A9EB-D912E2F48C78}"/>
          </ac:spMkLst>
        </pc:spChg>
        <pc:grpChg chg="add">
          <ac:chgData name="Michael Vermeersch" userId="85409873-b96b-4669-be5a-63f793ebbda5" providerId="ADAL" clId="{21ACB9C0-9ADB-43BC-B519-420AFDC52347}" dt="2020-11-11T19:11:59.468" v="625" actId="26606"/>
          <ac:grpSpMkLst>
            <pc:docMk/>
            <pc:sldMk cId="1431020212" sldId="10447"/>
            <ac:grpSpMk id="8" creationId="{63737881-458F-40AD-B72B-B57D267DC423}"/>
          </ac:grpSpMkLst>
        </pc:grpChg>
        <pc:picChg chg="add mod">
          <ac:chgData name="Michael Vermeersch" userId="85409873-b96b-4669-be5a-63f793ebbda5" providerId="ADAL" clId="{21ACB9C0-9ADB-43BC-B519-420AFDC52347}" dt="2020-11-11T19:14:58.298" v="701" actId="962"/>
          <ac:picMkLst>
            <pc:docMk/>
            <pc:sldMk cId="1431020212" sldId="10447"/>
            <ac:picMk id="3" creationId="{19B69546-4DFA-4D7B-9D43-0961E38613EE}"/>
          </ac:picMkLst>
        </pc:picChg>
      </pc:sldChg>
      <pc:sldChg chg="modSp new del mod">
        <pc:chgData name="Michael Vermeersch" userId="85409873-b96b-4669-be5a-63f793ebbda5" providerId="ADAL" clId="{21ACB9C0-9ADB-43BC-B519-420AFDC52347}" dt="2020-11-11T18:46:11.040" v="620" actId="47"/>
        <pc:sldMkLst>
          <pc:docMk/>
          <pc:sldMk cId="1811303507" sldId="10448"/>
        </pc:sldMkLst>
        <pc:spChg chg="mod">
          <ac:chgData name="Michael Vermeersch" userId="85409873-b96b-4669-be5a-63f793ebbda5" providerId="ADAL" clId="{21ACB9C0-9ADB-43BC-B519-420AFDC52347}" dt="2020-11-11T16:59:03.895" v="618" actId="20577"/>
          <ac:spMkLst>
            <pc:docMk/>
            <pc:sldMk cId="1811303507" sldId="10448"/>
            <ac:spMk id="2" creationId="{4E32DE57-21C1-4AB1-9A0B-9C7FB8995626}"/>
          </ac:spMkLst>
        </pc:spChg>
      </pc:sldChg>
      <pc:sldChg chg="modSp add del">
        <pc:chgData name="Michael Vermeersch" userId="85409873-b96b-4669-be5a-63f793ebbda5" providerId="ADAL" clId="{21ACB9C0-9ADB-43BC-B519-420AFDC52347}" dt="2020-11-11T19:15:53.306" v="723" actId="13244"/>
        <pc:sldMkLst>
          <pc:docMk/>
          <pc:sldMk cId="2998334276" sldId="2141411279"/>
        </pc:sldMkLst>
        <pc:spChg chg="mod">
          <ac:chgData name="Michael Vermeersch" userId="85409873-b96b-4669-be5a-63f793ebbda5" providerId="ADAL" clId="{21ACB9C0-9ADB-43BC-B519-420AFDC52347}" dt="2020-11-11T19:15:53.306" v="723" actId="13244"/>
          <ac:spMkLst>
            <pc:docMk/>
            <pc:sldMk cId="2998334276" sldId="2141411279"/>
            <ac:spMk id="3" creationId="{51DF1739-8F59-4206-8B50-78EB280A06F2}"/>
          </ac:spMkLst>
        </pc:spChg>
        <pc:spChg chg="mod">
          <ac:chgData name="Michael Vermeersch" userId="85409873-b96b-4669-be5a-63f793ebbda5" providerId="ADAL" clId="{21ACB9C0-9ADB-43BC-B519-420AFDC52347}" dt="2020-11-11T19:15:47.946" v="722" actId="13244"/>
          <ac:spMkLst>
            <pc:docMk/>
            <pc:sldMk cId="2998334276" sldId="2141411279"/>
            <ac:spMk id="5" creationId="{3A74C07E-82BF-43D4-AA91-062B6309CD0A}"/>
          </ac:spMkLst>
        </pc:spChg>
        <pc:spChg chg="mod">
          <ac:chgData name="Michael Vermeersch" userId="85409873-b96b-4669-be5a-63f793ebbda5" providerId="ADAL" clId="{21ACB9C0-9ADB-43BC-B519-420AFDC52347}" dt="2020-11-11T19:15:43.009" v="721" actId="13244"/>
          <ac:spMkLst>
            <pc:docMk/>
            <pc:sldMk cId="2998334276" sldId="2141411279"/>
            <ac:spMk id="22" creationId="{9E5493F3-277C-49CF-9394-32F4648FFC48}"/>
          </ac:spMkLst>
        </pc:spChg>
        <pc:picChg chg="mod">
          <ac:chgData name="Michael Vermeersch" userId="85409873-b96b-4669-be5a-63f793ebbda5" providerId="ADAL" clId="{21ACB9C0-9ADB-43BC-B519-420AFDC52347}" dt="2020-11-11T19:15:38.050" v="720" actId="13244"/>
          <ac:picMkLst>
            <pc:docMk/>
            <pc:sldMk cId="2998334276" sldId="2141411279"/>
            <ac:picMk id="8" creationId="{897A5D57-6113-4402-B904-845EBF5C56C6}"/>
          </ac:picMkLst>
        </pc:picChg>
      </pc:sldChg>
      <pc:sldMasterChg chg="modSldLayout">
        <pc:chgData name="Michael Vermeersch" userId="85409873-b96b-4669-be5a-63f793ebbda5" providerId="ADAL" clId="{21ACB9C0-9ADB-43BC-B519-420AFDC52347}" dt="2020-11-11T19:14:22.773" v="628" actId="22"/>
        <pc:sldMasterMkLst>
          <pc:docMk/>
          <pc:sldMasterMk cId="812732925" sldId="2147483706"/>
        </pc:sldMasterMkLst>
        <pc:sldLayoutChg chg="replId">
          <pc:chgData name="Michael Vermeersch" userId="85409873-b96b-4669-be5a-63f793ebbda5" providerId="ADAL" clId="{21ACB9C0-9ADB-43BC-B519-420AFDC52347}" dt="2020-11-11T19:14:22.773" v="628" actId="22"/>
          <pc:sldLayoutMkLst>
            <pc:docMk/>
            <pc:sldMasterMk cId="812732925" sldId="2147483706"/>
            <pc:sldLayoutMk cId="1946464408" sldId="2147483985"/>
          </pc:sldLayoutMkLst>
        </pc:sldLayoutChg>
      </pc:sldMasterChg>
      <pc:sldMasterChg chg="add addSldLayout">
        <pc:chgData name="Michael Vermeersch" userId="85409873-b96b-4669-be5a-63f793ebbda5" providerId="ADAL" clId="{21ACB9C0-9ADB-43BC-B519-420AFDC52347}" dt="2020-11-11T15:08:01.302" v="510" actId="22"/>
        <pc:sldMasterMkLst>
          <pc:docMk/>
          <pc:sldMasterMk cId="721311615" sldId="2147483766"/>
        </pc:sldMasterMkLst>
        <pc:sldLayoutChg chg="add">
          <pc:chgData name="Michael Vermeersch" userId="85409873-b96b-4669-be5a-63f793ebbda5" providerId="ADAL" clId="{21ACB9C0-9ADB-43BC-B519-420AFDC52347}" dt="2020-11-11T15:08:01.302" v="510" actId="22"/>
          <pc:sldLayoutMkLst>
            <pc:docMk/>
            <pc:sldMasterMk cId="721311615" sldId="2147483766"/>
            <pc:sldLayoutMk cId="1964645505" sldId="2147483767"/>
          </pc:sldLayoutMkLst>
        </pc:sldLayoutChg>
        <pc:sldLayoutChg chg="add">
          <pc:chgData name="Michael Vermeersch" userId="85409873-b96b-4669-be5a-63f793ebbda5" providerId="ADAL" clId="{21ACB9C0-9ADB-43BC-B519-420AFDC52347}" dt="2020-11-11T15:08:01.302" v="510" actId="22"/>
          <pc:sldLayoutMkLst>
            <pc:docMk/>
            <pc:sldMasterMk cId="721311615" sldId="2147483766"/>
            <pc:sldLayoutMk cId="2616664050" sldId="2147483768"/>
          </pc:sldLayoutMkLst>
        </pc:sldLayoutChg>
        <pc:sldLayoutChg chg="add">
          <pc:chgData name="Michael Vermeersch" userId="85409873-b96b-4669-be5a-63f793ebbda5" providerId="ADAL" clId="{21ACB9C0-9ADB-43BC-B519-420AFDC52347}" dt="2020-11-11T15:08:01.302" v="510" actId="22"/>
          <pc:sldLayoutMkLst>
            <pc:docMk/>
            <pc:sldMasterMk cId="721311615" sldId="2147483766"/>
            <pc:sldLayoutMk cId="4285945897" sldId="2147483769"/>
          </pc:sldLayoutMkLst>
        </pc:sldLayoutChg>
        <pc:sldLayoutChg chg="add">
          <pc:chgData name="Michael Vermeersch" userId="85409873-b96b-4669-be5a-63f793ebbda5" providerId="ADAL" clId="{21ACB9C0-9ADB-43BC-B519-420AFDC52347}" dt="2020-11-11T15:08:01.302" v="510" actId="22"/>
          <pc:sldLayoutMkLst>
            <pc:docMk/>
            <pc:sldMasterMk cId="721311615" sldId="2147483766"/>
            <pc:sldLayoutMk cId="906497064" sldId="2147483770"/>
          </pc:sldLayoutMkLst>
        </pc:sldLayoutChg>
        <pc:sldLayoutChg chg="add">
          <pc:chgData name="Michael Vermeersch" userId="85409873-b96b-4669-be5a-63f793ebbda5" providerId="ADAL" clId="{21ACB9C0-9ADB-43BC-B519-420AFDC52347}" dt="2020-11-11T15:08:01.302" v="510" actId="22"/>
          <pc:sldLayoutMkLst>
            <pc:docMk/>
            <pc:sldMasterMk cId="721311615" sldId="2147483766"/>
            <pc:sldLayoutMk cId="1536712270" sldId="2147483771"/>
          </pc:sldLayoutMkLst>
        </pc:sldLayoutChg>
        <pc:sldLayoutChg chg="add">
          <pc:chgData name="Michael Vermeersch" userId="85409873-b96b-4669-be5a-63f793ebbda5" providerId="ADAL" clId="{21ACB9C0-9ADB-43BC-B519-420AFDC52347}" dt="2020-11-11T15:08:01.302" v="510" actId="22"/>
          <pc:sldLayoutMkLst>
            <pc:docMk/>
            <pc:sldMasterMk cId="721311615" sldId="2147483766"/>
            <pc:sldLayoutMk cId="2134055786" sldId="2147483772"/>
          </pc:sldLayoutMkLst>
        </pc:sldLayoutChg>
        <pc:sldLayoutChg chg="add">
          <pc:chgData name="Michael Vermeersch" userId="85409873-b96b-4669-be5a-63f793ebbda5" providerId="ADAL" clId="{21ACB9C0-9ADB-43BC-B519-420AFDC52347}" dt="2020-11-11T15:08:01.302" v="510" actId="22"/>
          <pc:sldLayoutMkLst>
            <pc:docMk/>
            <pc:sldMasterMk cId="721311615" sldId="2147483766"/>
            <pc:sldLayoutMk cId="2241706034" sldId="2147483773"/>
          </pc:sldLayoutMkLst>
        </pc:sldLayoutChg>
        <pc:sldLayoutChg chg="add">
          <pc:chgData name="Michael Vermeersch" userId="85409873-b96b-4669-be5a-63f793ebbda5" providerId="ADAL" clId="{21ACB9C0-9ADB-43BC-B519-420AFDC52347}" dt="2020-11-11T15:08:01.302" v="510" actId="22"/>
          <pc:sldLayoutMkLst>
            <pc:docMk/>
            <pc:sldMasterMk cId="721311615" sldId="2147483766"/>
            <pc:sldLayoutMk cId="271169717" sldId="2147483774"/>
          </pc:sldLayoutMkLst>
        </pc:sldLayoutChg>
        <pc:sldLayoutChg chg="add">
          <pc:chgData name="Michael Vermeersch" userId="85409873-b96b-4669-be5a-63f793ebbda5" providerId="ADAL" clId="{21ACB9C0-9ADB-43BC-B519-420AFDC52347}" dt="2020-11-11T15:08:01.302" v="510" actId="22"/>
          <pc:sldLayoutMkLst>
            <pc:docMk/>
            <pc:sldMasterMk cId="721311615" sldId="2147483766"/>
            <pc:sldLayoutMk cId="2757321538" sldId="2147483775"/>
          </pc:sldLayoutMkLst>
        </pc:sldLayoutChg>
        <pc:sldLayoutChg chg="add">
          <pc:chgData name="Michael Vermeersch" userId="85409873-b96b-4669-be5a-63f793ebbda5" providerId="ADAL" clId="{21ACB9C0-9ADB-43BC-B519-420AFDC52347}" dt="2020-11-11T15:08:01.302" v="510" actId="22"/>
          <pc:sldLayoutMkLst>
            <pc:docMk/>
            <pc:sldMasterMk cId="721311615" sldId="2147483766"/>
            <pc:sldLayoutMk cId="1442816928" sldId="2147483776"/>
          </pc:sldLayoutMkLst>
        </pc:sldLayoutChg>
        <pc:sldLayoutChg chg="add">
          <pc:chgData name="Michael Vermeersch" userId="85409873-b96b-4669-be5a-63f793ebbda5" providerId="ADAL" clId="{21ACB9C0-9ADB-43BC-B519-420AFDC52347}" dt="2020-11-11T15:08:01.302" v="510" actId="22"/>
          <pc:sldLayoutMkLst>
            <pc:docMk/>
            <pc:sldMasterMk cId="721311615" sldId="2147483766"/>
            <pc:sldLayoutMk cId="2405118503" sldId="2147483777"/>
          </pc:sldLayoutMkLst>
        </pc:sldLayoutChg>
        <pc:sldLayoutChg chg="add">
          <pc:chgData name="Michael Vermeersch" userId="85409873-b96b-4669-be5a-63f793ebbda5" providerId="ADAL" clId="{21ACB9C0-9ADB-43BC-B519-420AFDC52347}" dt="2020-11-11T15:08:01.302" v="510" actId="22"/>
          <pc:sldLayoutMkLst>
            <pc:docMk/>
            <pc:sldMasterMk cId="721311615" sldId="2147483766"/>
            <pc:sldLayoutMk cId="135153183" sldId="2147483778"/>
          </pc:sldLayoutMkLst>
        </pc:sldLayoutChg>
      </pc:sldMasterChg>
      <pc:sldMasterChg chg="add addSldLayout">
        <pc:chgData name="Michael Vermeersch" userId="85409873-b96b-4669-be5a-63f793ebbda5" providerId="ADAL" clId="{21ACB9C0-9ADB-43BC-B519-420AFDC52347}" dt="2020-11-11T19:14:22.773" v="628" actId="22"/>
        <pc:sldMasterMkLst>
          <pc:docMk/>
          <pc:sldMasterMk cId="3004800810" sldId="2147483973"/>
        </pc:sldMasterMkLst>
        <pc:sldLayoutChg chg="add">
          <pc:chgData name="Michael Vermeersch" userId="85409873-b96b-4669-be5a-63f793ebbda5" providerId="ADAL" clId="{21ACB9C0-9ADB-43BC-B519-420AFDC52347}" dt="2020-11-11T19:14:22.773" v="628" actId="22"/>
          <pc:sldLayoutMkLst>
            <pc:docMk/>
            <pc:sldMasterMk cId="3004800810" sldId="2147483973"/>
            <pc:sldLayoutMk cId="2301429104" sldId="2147483717"/>
          </pc:sldLayoutMkLst>
        </pc:sldLayoutChg>
        <pc:sldLayoutChg chg="add">
          <pc:chgData name="Michael Vermeersch" userId="85409873-b96b-4669-be5a-63f793ebbda5" providerId="ADAL" clId="{21ACB9C0-9ADB-43BC-B519-420AFDC52347}" dt="2020-11-11T19:14:22.773" v="628" actId="22"/>
          <pc:sldLayoutMkLst>
            <pc:docMk/>
            <pc:sldMasterMk cId="3004800810" sldId="2147483973"/>
            <pc:sldLayoutMk cId="3880573114" sldId="2147483974"/>
          </pc:sldLayoutMkLst>
        </pc:sldLayoutChg>
        <pc:sldLayoutChg chg="add">
          <pc:chgData name="Michael Vermeersch" userId="85409873-b96b-4669-be5a-63f793ebbda5" providerId="ADAL" clId="{21ACB9C0-9ADB-43BC-B519-420AFDC52347}" dt="2020-11-11T19:14:22.773" v="628" actId="22"/>
          <pc:sldLayoutMkLst>
            <pc:docMk/>
            <pc:sldMasterMk cId="3004800810" sldId="2147483973"/>
            <pc:sldLayoutMk cId="3206690743" sldId="2147483975"/>
          </pc:sldLayoutMkLst>
        </pc:sldLayoutChg>
        <pc:sldLayoutChg chg="add">
          <pc:chgData name="Michael Vermeersch" userId="85409873-b96b-4669-be5a-63f793ebbda5" providerId="ADAL" clId="{21ACB9C0-9ADB-43BC-B519-420AFDC52347}" dt="2020-11-11T19:14:22.773" v="628" actId="22"/>
          <pc:sldLayoutMkLst>
            <pc:docMk/>
            <pc:sldMasterMk cId="3004800810" sldId="2147483973"/>
            <pc:sldLayoutMk cId="4275426820" sldId="2147483976"/>
          </pc:sldLayoutMkLst>
        </pc:sldLayoutChg>
        <pc:sldLayoutChg chg="add">
          <pc:chgData name="Michael Vermeersch" userId="85409873-b96b-4669-be5a-63f793ebbda5" providerId="ADAL" clId="{21ACB9C0-9ADB-43BC-B519-420AFDC52347}" dt="2020-11-11T19:14:22.773" v="628" actId="22"/>
          <pc:sldLayoutMkLst>
            <pc:docMk/>
            <pc:sldMasterMk cId="3004800810" sldId="2147483973"/>
            <pc:sldLayoutMk cId="1451521642" sldId="2147483977"/>
          </pc:sldLayoutMkLst>
        </pc:sldLayoutChg>
        <pc:sldLayoutChg chg="add">
          <pc:chgData name="Michael Vermeersch" userId="85409873-b96b-4669-be5a-63f793ebbda5" providerId="ADAL" clId="{21ACB9C0-9ADB-43BC-B519-420AFDC52347}" dt="2020-11-11T19:14:22.773" v="628" actId="22"/>
          <pc:sldLayoutMkLst>
            <pc:docMk/>
            <pc:sldMasterMk cId="3004800810" sldId="2147483973"/>
            <pc:sldLayoutMk cId="101367163" sldId="2147483978"/>
          </pc:sldLayoutMkLst>
        </pc:sldLayoutChg>
        <pc:sldLayoutChg chg="add">
          <pc:chgData name="Michael Vermeersch" userId="85409873-b96b-4669-be5a-63f793ebbda5" providerId="ADAL" clId="{21ACB9C0-9ADB-43BC-B519-420AFDC52347}" dt="2020-11-11T19:14:22.773" v="628" actId="22"/>
          <pc:sldLayoutMkLst>
            <pc:docMk/>
            <pc:sldMasterMk cId="3004800810" sldId="2147483973"/>
            <pc:sldLayoutMk cId="636652209" sldId="2147483979"/>
          </pc:sldLayoutMkLst>
        </pc:sldLayoutChg>
        <pc:sldLayoutChg chg="add">
          <pc:chgData name="Michael Vermeersch" userId="85409873-b96b-4669-be5a-63f793ebbda5" providerId="ADAL" clId="{21ACB9C0-9ADB-43BC-B519-420AFDC52347}" dt="2020-11-11T19:14:22.773" v="628" actId="22"/>
          <pc:sldLayoutMkLst>
            <pc:docMk/>
            <pc:sldMasterMk cId="3004800810" sldId="2147483973"/>
            <pc:sldLayoutMk cId="3696990494" sldId="2147483980"/>
          </pc:sldLayoutMkLst>
        </pc:sldLayoutChg>
        <pc:sldLayoutChg chg="add">
          <pc:chgData name="Michael Vermeersch" userId="85409873-b96b-4669-be5a-63f793ebbda5" providerId="ADAL" clId="{21ACB9C0-9ADB-43BC-B519-420AFDC52347}" dt="2020-11-11T19:14:22.773" v="628" actId="22"/>
          <pc:sldLayoutMkLst>
            <pc:docMk/>
            <pc:sldMasterMk cId="3004800810" sldId="2147483973"/>
            <pc:sldLayoutMk cId="2283822610" sldId="2147483981"/>
          </pc:sldLayoutMkLst>
        </pc:sldLayoutChg>
        <pc:sldLayoutChg chg="add">
          <pc:chgData name="Michael Vermeersch" userId="85409873-b96b-4669-be5a-63f793ebbda5" providerId="ADAL" clId="{21ACB9C0-9ADB-43BC-B519-420AFDC52347}" dt="2020-11-11T19:14:22.773" v="628" actId="22"/>
          <pc:sldLayoutMkLst>
            <pc:docMk/>
            <pc:sldMasterMk cId="3004800810" sldId="2147483973"/>
            <pc:sldLayoutMk cId="1887911472" sldId="2147483982"/>
          </pc:sldLayoutMkLst>
        </pc:sldLayoutChg>
        <pc:sldLayoutChg chg="add">
          <pc:chgData name="Michael Vermeersch" userId="85409873-b96b-4669-be5a-63f793ebbda5" providerId="ADAL" clId="{21ACB9C0-9ADB-43BC-B519-420AFDC52347}" dt="2020-11-11T19:14:22.773" v="628" actId="22"/>
          <pc:sldLayoutMkLst>
            <pc:docMk/>
            <pc:sldMasterMk cId="3004800810" sldId="2147483973"/>
            <pc:sldLayoutMk cId="487467169" sldId="2147483983"/>
          </pc:sldLayoutMkLst>
        </pc:sldLayoutChg>
        <pc:sldLayoutChg chg="add">
          <pc:chgData name="Michael Vermeersch" userId="85409873-b96b-4669-be5a-63f793ebbda5" providerId="ADAL" clId="{21ACB9C0-9ADB-43BC-B519-420AFDC52347}" dt="2020-11-11T19:14:22.773" v="628" actId="22"/>
          <pc:sldLayoutMkLst>
            <pc:docMk/>
            <pc:sldMasterMk cId="3004800810" sldId="2147483973"/>
            <pc:sldLayoutMk cId="1031036487" sldId="2147483984"/>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96BACC2-7707-4970-9FA2-3B9E54652A3A}" type="datetimeFigureOut">
              <a:rPr lang="en-GB" smtClean="0"/>
              <a:t>25/05/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2A0E491-B52C-431A-920A-99A07A6A669B}" type="slidenum">
              <a:rPr lang="en-GB" smtClean="0"/>
              <a:t>‹#›</a:t>
            </a:fld>
            <a:endParaRPr lang="en-GB"/>
          </a:p>
        </p:txBody>
      </p:sp>
    </p:spTree>
    <p:extLst>
      <p:ext uri="{BB962C8B-B14F-4D97-AF65-F5344CB8AC3E}">
        <p14:creationId xmlns:p14="http://schemas.microsoft.com/office/powerpoint/2010/main" val="4804448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news.microsoft.com/2004/02/02/new-research-study-shows-57-percent-of-adult-computer-users-can-benefit-from-accessible-technology/" TargetMode="External"/><Relationship Id="rId7" Type="http://schemas.openxmlformats.org/officeDocument/2006/relationships/hyperlink" Target="https://invisibledisabilities.org/what-is-an-invisible-disability/" TargetMode="External"/><Relationship Id="rId2" Type="http://schemas.openxmlformats.org/officeDocument/2006/relationships/slide" Target="../slides/slide2.xml"/><Relationship Id="rId1" Type="http://schemas.openxmlformats.org/officeDocument/2006/relationships/notesMaster" Target="../notesMasters/notesMaster1.xml"/><Relationship Id="rId6" Type="http://schemas.openxmlformats.org/officeDocument/2006/relationships/hyperlink" Target="http://www.who.int/phi/implementation/assistive_technology/2206_infographic.pdf?ua=1" TargetMode="External"/><Relationship Id="rId5" Type="http://schemas.openxmlformats.org/officeDocument/2006/relationships/hyperlink" Target="https://www.economist.com/briefing/2016/04/16/spectrum-shift" TargetMode="External"/><Relationship Id="rId4" Type="http://schemas.openxmlformats.org/officeDocument/2006/relationships/hyperlink" Target="https://www.bls.gov/news.release/disabl.nr0.htm"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support.office.com/en-us/article/improve-accessibility-with-the-accessibility-checker-a16f6de0-2f39-4a2b-8bd8-5ad801426c7f"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education.microsoft.com/en-us/course/a41ac17d/overview"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088502" rtl="0" eaLnBrk="1" fontAlgn="auto" latinLnBrk="0" hangingPunct="1">
              <a:lnSpc>
                <a:spcPct val="100000"/>
              </a:lnSpc>
              <a:spcBef>
                <a:spcPts val="0"/>
              </a:spcBef>
              <a:spcAft>
                <a:spcPts val="0"/>
              </a:spcAft>
              <a:buClrTx/>
              <a:buSzTx/>
              <a:buFontTx/>
              <a:buNone/>
              <a:tabLst/>
              <a:defRPr/>
            </a:pPr>
            <a:fld id="{FAB89093-C786-456A-B68B-93DB47CC0FE2}" type="slidenum">
              <a:rPr kumimoji="0" lang="en-US" sz="21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1088502" rtl="0" eaLnBrk="1" fontAlgn="auto" latinLnBrk="0" hangingPunct="1">
                <a:lnSpc>
                  <a:spcPct val="100000"/>
                </a:lnSpc>
                <a:spcBef>
                  <a:spcPts val="0"/>
                </a:spcBef>
                <a:spcAft>
                  <a:spcPts val="0"/>
                </a:spcAft>
                <a:buClrTx/>
                <a:buSzTx/>
                <a:buFontTx/>
                <a:buNone/>
                <a:tabLst/>
                <a:defRPr/>
              </a:pPr>
              <a:t>1</a:t>
            </a:fld>
            <a:endParaRPr kumimoji="0" lang="en-US" sz="21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50542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a:effectLst/>
                <a:latin typeface="+mn-lt"/>
                <a:cs typeface="Segoe UI"/>
              </a:rPr>
              <a:t>There </a:t>
            </a:r>
            <a:r>
              <a:rPr lang="en-US" sz="1200">
                <a:latin typeface="+mn-lt"/>
                <a:cs typeface="Segoe UI"/>
              </a:rPr>
              <a:t>over are 1</a:t>
            </a:r>
            <a:r>
              <a:rPr lang="en-US" sz="1200" b="0" i="0" u="none" strike="noStrike" kern="1200">
                <a:effectLst/>
                <a:latin typeface="+mn-lt"/>
                <a:cs typeface="Segoe UI"/>
              </a:rPr>
              <a:t> billion people in the world who have disabilities</a:t>
            </a:r>
            <a:r>
              <a:rPr lang="en-US" sz="1200">
                <a:latin typeface="+mn-lt"/>
                <a:cs typeface="Segoe UI"/>
              </a:rPr>
              <a:t>, many of whom need assistive technology. </a:t>
            </a:r>
            <a:r>
              <a:rPr lang="en-US" sz="850">
                <a:latin typeface="Segoe UI"/>
                <a:cs typeface="Segoe UI"/>
              </a:rPr>
              <a:t>But only 1 in 10 have access to the products needed, and this means many of them can't fully participate in our economies and societies. Accessible technology can allow them to fully participate. </a:t>
            </a:r>
          </a:p>
          <a:p>
            <a:endParaRPr lang="en-US" sz="1200">
              <a:latin typeface="+mn-lt"/>
              <a:cs typeface="Segoe UI"/>
            </a:endParaRPr>
          </a:p>
          <a:p>
            <a:r>
              <a:rPr lang="en-US" sz="1200">
                <a:latin typeface="Segoe UI"/>
                <a:cs typeface="Segoe UI"/>
              </a:rPr>
              <a:t>In a 2004 Forrester </a:t>
            </a:r>
            <a:r>
              <a:rPr lang="en-US" sz="1200">
                <a:latin typeface="Segoe UI"/>
                <a:cs typeface="Segoe UI"/>
                <a:hlinkClick r:id="rId3"/>
              </a:rPr>
              <a:t>study</a:t>
            </a:r>
            <a:r>
              <a:rPr lang="en-US" sz="1200">
                <a:latin typeface="Segoe UI"/>
                <a:cs typeface="Segoe UI"/>
              </a:rPr>
              <a:t>, they found that </a:t>
            </a:r>
            <a:r>
              <a:rPr lang="en-US" sz="850">
                <a:latin typeface="Segoe UI"/>
                <a:cs typeface="Segoe UI"/>
              </a:rPr>
              <a:t>57% of current working-age computer users may benefit from accessible technology because of mild to severe vision, hearing, dexterity, speech and cognitive difficulties. As the U.S. population continues to age, the number of people who experience these impairments will increase, and more people will likely turn to accessible technology to mitigate the effects of their changing physical abilities.</a:t>
            </a:r>
          </a:p>
          <a:p>
            <a:endParaRPr lang="en-US" sz="1200">
              <a:latin typeface="+mn-lt"/>
              <a:cs typeface="Segoe UI"/>
            </a:endParaRPr>
          </a:p>
          <a:p>
            <a:r>
              <a:rPr lang="en-US" sz="1200">
                <a:latin typeface="+mn-lt"/>
                <a:cs typeface="Segoe UI"/>
              </a:rPr>
              <a:t>In the U.S., the unemployment rate for people with disabilities is </a:t>
            </a:r>
            <a:r>
              <a:rPr lang="en-US" sz="1200">
                <a:latin typeface="+mn-lt"/>
                <a:cs typeface="Segoe UI"/>
                <a:hlinkClick r:id="rId4"/>
              </a:rPr>
              <a:t>double</a:t>
            </a:r>
            <a:r>
              <a:rPr lang="en-US" sz="1200">
                <a:latin typeface="+mn-lt"/>
                <a:cs typeface="Segoe UI"/>
              </a:rPr>
              <a:t> that of people without. And this has not substantially changed in the last 30 years since the establishment of the Americans with Disabilities Act (ADA). And the unemployment rate for with an Autism Spectrum Disorder is around </a:t>
            </a:r>
            <a:r>
              <a:rPr lang="en-US" sz="1200">
                <a:latin typeface="+mn-lt"/>
                <a:cs typeface="Segoe UI"/>
                <a:hlinkClick r:id="rId5"/>
              </a:rPr>
              <a:t>80 percent</a:t>
            </a:r>
            <a:r>
              <a:rPr lang="en-US" sz="1200">
                <a:latin typeface="+mn-lt"/>
                <a:cs typeface="Segoe UI"/>
              </a:rPr>
              <a:t>. This is a huge untapped talent pool.</a:t>
            </a:r>
            <a:endParaRPr lang="en-US" sz="1200">
              <a:latin typeface="+mn-lt"/>
            </a:endParaRPr>
          </a:p>
          <a:p>
            <a:endParaRPr lang="en-US" sz="1200">
              <a:latin typeface="+mn-lt"/>
              <a:cs typeface="Segoe UI"/>
            </a:endParaRPr>
          </a:p>
          <a:p>
            <a:r>
              <a:rPr lang="en-US" sz="1200">
                <a:latin typeface="+mn-lt"/>
                <a:cs typeface="Segoe UI"/>
              </a:rPr>
              <a:t>Also, it's important to know that 70% of disability is invisible, so you don't always know what may be a challenge for those around you.</a:t>
            </a:r>
          </a:p>
          <a:p>
            <a:endParaRPr lang="en-US" sz="1200">
              <a:latin typeface="+mn-lt"/>
            </a:endParaRPr>
          </a:p>
          <a:p>
            <a:r>
              <a:rPr lang="en-US" sz="1200">
                <a:latin typeface="+mn-lt"/>
                <a:cs typeface="Segoe UI"/>
              </a:rPr>
              <a:t>And finally, remember that disability – whether temporary, situational, or permanent - is something that can affect any of us, or someone we love, at any time.</a:t>
            </a:r>
          </a:p>
          <a:p>
            <a:endParaRPr lang="en-US" sz="1200">
              <a:latin typeface="+mn-lt"/>
              <a:cs typeface="Segoe UI"/>
            </a:endParaRPr>
          </a:p>
          <a:p>
            <a:r>
              <a:rPr lang="en-US" sz="1200" b="0">
                <a:latin typeface="+mn-lt"/>
                <a:cs typeface="Segoe UI"/>
              </a:rPr>
              <a:t>-------------------------------------------------------------------------------------------</a:t>
            </a:r>
          </a:p>
          <a:p>
            <a:r>
              <a:rPr lang="en-US" sz="1200">
                <a:latin typeface="+mn-lt"/>
                <a:cs typeface="Segoe UI"/>
              </a:rPr>
              <a:t>Source: World Health Organization </a:t>
            </a:r>
          </a:p>
          <a:p>
            <a:r>
              <a:rPr lang="en-US" sz="1200">
                <a:latin typeface="+mn-lt"/>
                <a:cs typeface="Segoe UI"/>
                <a:hlinkClick r:id="rId6"/>
              </a:rPr>
              <a:t>http://www.who.int/phi/implementation/assistive_technology/2206_infographic.pdf?ua=1</a:t>
            </a:r>
          </a:p>
          <a:p>
            <a:endParaRPr lang="en-US" sz="1200">
              <a:latin typeface="+mn-lt"/>
              <a:cs typeface="Segoe UI"/>
            </a:endParaRPr>
          </a:p>
          <a:p>
            <a:r>
              <a:rPr lang="en-US" sz="850">
                <a:latin typeface="Segoe UI"/>
                <a:cs typeface="Segoe UI"/>
                <a:hlinkClick r:id="rId3"/>
              </a:rPr>
              <a:t>https://news.microsoft.com/2004/02/02/new-research-study-shows-57-percent-of-adult-computer-users-can-benefit-from-accessible-technology/</a:t>
            </a:r>
          </a:p>
          <a:p>
            <a:endParaRPr lang="en-US" sz="850">
              <a:latin typeface="Segoe UI"/>
              <a:cs typeface="Segoe UI"/>
            </a:endParaRPr>
          </a:p>
          <a:p>
            <a:r>
              <a:rPr lang="en-US" sz="1200">
                <a:hlinkClick r:id="rId7"/>
              </a:rPr>
              <a:t>https://invisibledisabilities.org/what-is-an-invisible-disability/</a:t>
            </a:r>
            <a:endParaRPr lang="en-US" sz="1200"/>
          </a:p>
        </p:txBody>
      </p:sp>
      <p:sp>
        <p:nvSpPr>
          <p:cNvPr id="4" name="Slide Number Placeholder 3"/>
          <p:cNvSpPr>
            <a:spLocks noGrp="1"/>
          </p:cNvSpPr>
          <p:nvPr>
            <p:ph type="sldNum" sz="quarter" idx="5"/>
          </p:nvPr>
        </p:nvSpPr>
        <p:spPr/>
        <p:txBody>
          <a:bodyPr/>
          <a:lstStyle/>
          <a:p>
            <a:pPr marL="0" marR="0" lvl="0" indent="0" algn="r" defTabSz="932513" rtl="0" eaLnBrk="1" fontAlgn="auto" latinLnBrk="0" hangingPunct="1">
              <a:lnSpc>
                <a:spcPct val="100000"/>
              </a:lnSpc>
              <a:spcBef>
                <a:spcPts val="0"/>
              </a:spcBef>
              <a:spcAft>
                <a:spcPts val="0"/>
              </a:spcAft>
              <a:buClrTx/>
              <a:buSzTx/>
              <a:buFontTx/>
              <a:buNone/>
              <a:tabLst/>
              <a:defRPr/>
            </a:pPr>
            <a:fld id="{C71D549F-8022-4AE4-8B8D-5F6EA48A2C7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513"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899800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ctr"/>
            <a:r>
              <a:rPr lang="en-US" sz="1200">
                <a:latin typeface="+mn-lt"/>
              </a:rPr>
              <a:t>Think about it this way—if </a:t>
            </a:r>
            <a:r>
              <a:rPr lang="en-US" sz="1200" b="0" kern="1200">
                <a:effectLst/>
                <a:latin typeface="+mn-lt"/>
                <a:ea typeface="+mn-ea"/>
                <a:cs typeface="+mn-cs"/>
              </a:rPr>
              <a:t>you don’t design for accessibility and inclusion, you are excluding a large segment of the global population who could be customers or employees.</a:t>
            </a:r>
          </a:p>
          <a:p>
            <a:endParaRPr lang="en-US" sz="1200" b="0" kern="1200">
              <a:effectLst/>
              <a:latin typeface="+mn-lt"/>
              <a:cs typeface="Segoe UI" panose="020B0502040204020203" pitchFamily="34" charset="0"/>
            </a:endParaRPr>
          </a:p>
          <a:p>
            <a:pPr marL="0" marR="0" lvl="0" indent="0" algn="l" defTabSz="914367" rtl="0" eaLnBrk="1" fontAlgn="ctr" latinLnBrk="0" hangingPunct="1">
              <a:lnSpc>
                <a:spcPct val="90000"/>
              </a:lnSpc>
              <a:spcBef>
                <a:spcPts val="0"/>
              </a:spcBef>
              <a:spcAft>
                <a:spcPts val="333"/>
              </a:spcAft>
              <a:buClrTx/>
              <a:buSzTx/>
              <a:buFontTx/>
              <a:buNone/>
              <a:tabLst/>
              <a:defRPr/>
            </a:pPr>
            <a:r>
              <a:rPr lang="en-US" sz="1200">
                <a:solidFill>
                  <a:schemeClr val="tx1"/>
                </a:solidFill>
                <a:latin typeface="+mn-lt"/>
                <a:cs typeface="Segoe UI"/>
              </a:rPr>
              <a:t>It’s like saying to every fifth person who walks in your door… “I don’t really want your business.”</a:t>
            </a:r>
          </a:p>
        </p:txBody>
      </p:sp>
      <p:sp>
        <p:nvSpPr>
          <p:cNvPr id="4" name="Slide Number Placeholder 3"/>
          <p:cNvSpPr>
            <a:spLocks noGrp="1"/>
          </p:cNvSpPr>
          <p:nvPr>
            <p:ph type="sldNum" sz="quarter" idx="5"/>
          </p:nvPr>
        </p:nvSpPr>
        <p:spPr/>
        <p:txBody>
          <a:bodyPr/>
          <a:lstStyle/>
          <a:p>
            <a:pPr marL="0" marR="0" lvl="0" indent="0" algn="r" defTabSz="932513" rtl="0" eaLnBrk="1" fontAlgn="auto" latinLnBrk="0" hangingPunct="1">
              <a:lnSpc>
                <a:spcPct val="100000"/>
              </a:lnSpc>
              <a:spcBef>
                <a:spcPts val="0"/>
              </a:spcBef>
              <a:spcAft>
                <a:spcPts val="0"/>
              </a:spcAft>
              <a:buClrTx/>
              <a:buSzTx/>
              <a:buFontTx/>
              <a:buNone/>
              <a:tabLst/>
              <a:defRPr/>
            </a:pPr>
            <a:fld id="{C71D549F-8022-4AE4-8B8D-5F6EA48A2C7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513"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131308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indent="0" defTabSz="932742">
              <a:spcAft>
                <a:spcPts val="340"/>
              </a:spcAft>
              <a:buNone/>
              <a:defRPr/>
            </a:pPr>
            <a:r>
              <a:rPr lang="en-US" sz="800" dirty="0">
                <a:latin typeface="Segoe UI"/>
                <a:cs typeface="Segoe UI"/>
              </a:rPr>
              <a:t>Our model is comprised of eight overarching dimensions by which we assess our accessibility journey.</a:t>
            </a:r>
          </a:p>
          <a:p>
            <a:pPr marL="0" lvl="1" indent="0" defTabSz="932742">
              <a:spcAft>
                <a:spcPts val="340"/>
              </a:spcAft>
              <a:buNone/>
              <a:defRPr/>
            </a:pPr>
            <a:r>
              <a:rPr lang="en-US" sz="800" dirty="0">
                <a:latin typeface="+mn-lt"/>
                <a:cs typeface="Segoe UI"/>
              </a:rPr>
              <a:t>We realize that each organization has its own pace and starting point, and you may have your own criteria. </a:t>
            </a:r>
            <a:r>
              <a:rPr lang="en-US" sz="800" dirty="0">
                <a:latin typeface="Segoe UI"/>
                <a:cs typeface="Segoe UI"/>
              </a:rPr>
              <a:t>Consider these as examples to consider as you progress on your journey. </a:t>
            </a:r>
          </a:p>
          <a:p>
            <a:pPr marL="0" lvl="1" indent="0" defTabSz="932742">
              <a:spcAft>
                <a:spcPts val="340"/>
              </a:spcAft>
              <a:buNone/>
              <a:defRPr/>
            </a:pPr>
            <a:endParaRPr lang="en-US" sz="800" dirty="0">
              <a:latin typeface="Segoe UI"/>
              <a:cs typeface="Segoe UI"/>
            </a:endParaRPr>
          </a:p>
          <a:p>
            <a:pPr marL="0" lvl="1" indent="0" defTabSz="932742">
              <a:spcAft>
                <a:spcPts val="340"/>
              </a:spcAft>
              <a:buNone/>
              <a:defRPr/>
            </a:pPr>
            <a:r>
              <a:rPr lang="en-US" sz="800" dirty="0">
                <a:latin typeface="Segoe UI"/>
                <a:cs typeface="Segoe UI"/>
              </a:rPr>
              <a:t>In the end, you don’t have to address these dimensions in any set order, and you may think of new ones, it is simply our goal to help </a:t>
            </a:r>
            <a:r>
              <a:rPr lang="en-US" sz="800" dirty="0">
                <a:latin typeface="+mn-lt"/>
                <a:cs typeface="Segoe UI"/>
              </a:rPr>
              <a:t>your organization grow from any point in your journey. Whether you are just defining your strategy or already have great systems in place, we want to help you become innovators in accessibility.</a:t>
            </a:r>
            <a:endParaRPr lang="en-US" sz="800" dirty="0"/>
          </a:p>
          <a:p>
            <a:pPr marL="0" lvl="1" indent="0" defTabSz="932742">
              <a:spcAft>
                <a:spcPts val="340"/>
              </a:spcAft>
              <a:buNone/>
              <a:defRPr/>
            </a:pPr>
            <a:endParaRPr lang="en-US" sz="800" dirty="0">
              <a:latin typeface="+mn-lt"/>
              <a:cs typeface="Segoe UI"/>
            </a:endParaRPr>
          </a:p>
          <a:p>
            <a:pPr marL="0" lvl="1" indent="0" defTabSz="932742">
              <a:spcAft>
                <a:spcPts val="340"/>
              </a:spcAft>
              <a:buNone/>
              <a:defRPr/>
            </a:pPr>
            <a:r>
              <a:rPr lang="en-US" sz="800" dirty="0">
                <a:latin typeface="+mn-lt"/>
                <a:cs typeface="Segoe UI"/>
              </a:rPr>
              <a:t>Our dimensions include:</a:t>
            </a:r>
          </a:p>
          <a:p>
            <a:pPr marL="0" lvl="1" indent="0" defTabSz="932742">
              <a:spcAft>
                <a:spcPts val="340"/>
              </a:spcAft>
              <a:buNone/>
              <a:defRPr/>
            </a:pPr>
            <a:r>
              <a:rPr lang="en-US" sz="800" dirty="0">
                <a:latin typeface="+mn-lt"/>
                <a:cs typeface="Segoe UI"/>
              </a:rPr>
              <a:t>People &amp; Culture</a:t>
            </a:r>
            <a:endParaRPr lang="en-US" sz="800" dirty="0">
              <a:latin typeface="+mn-lt"/>
              <a:cs typeface="Segoe UI" panose="020B0502040204020203" pitchFamily="34" charset="0"/>
            </a:endParaRPr>
          </a:p>
          <a:p>
            <a:pPr marL="0" lvl="1" indent="0" defTabSz="932742">
              <a:spcAft>
                <a:spcPts val="340"/>
              </a:spcAft>
              <a:buNone/>
              <a:defRPr/>
            </a:pPr>
            <a:r>
              <a:rPr lang="en-US" sz="800" dirty="0">
                <a:latin typeface="+mn-lt"/>
                <a:cs typeface="Segoe UI"/>
              </a:rPr>
              <a:t>Vision, Strategy and Engagement</a:t>
            </a:r>
          </a:p>
          <a:p>
            <a:pPr marL="0" lvl="1" indent="0" defTabSz="932742">
              <a:spcAft>
                <a:spcPts val="340"/>
              </a:spcAft>
              <a:buNone/>
              <a:defRPr/>
            </a:pPr>
            <a:r>
              <a:rPr lang="en-US" sz="800" dirty="0">
                <a:latin typeface="+mn-lt"/>
                <a:cs typeface="Segoe UI"/>
              </a:rPr>
              <a:t>Investments</a:t>
            </a:r>
          </a:p>
          <a:p>
            <a:pPr marL="0" lvl="1" indent="0" defTabSz="932742">
              <a:spcAft>
                <a:spcPts val="340"/>
              </a:spcAft>
              <a:buNone/>
              <a:defRPr/>
            </a:pPr>
            <a:r>
              <a:rPr lang="en-US" sz="800" dirty="0">
                <a:latin typeface="+mn-lt"/>
                <a:cs typeface="Segoe UI"/>
              </a:rPr>
              <a:t>Standards </a:t>
            </a:r>
          </a:p>
          <a:p>
            <a:pPr marL="0" lvl="1" indent="0" defTabSz="932742">
              <a:spcAft>
                <a:spcPts val="340"/>
              </a:spcAft>
              <a:buNone/>
              <a:defRPr/>
            </a:pPr>
            <a:r>
              <a:rPr lang="en-US" sz="800" dirty="0">
                <a:latin typeface="+mn-lt"/>
                <a:cs typeface="Segoe UI"/>
              </a:rPr>
              <a:t>Training, Support &amp; Tools</a:t>
            </a:r>
          </a:p>
          <a:p>
            <a:pPr marL="0" marR="0" lvl="1" indent="0" algn="l" defTabSz="932742" rtl="0" eaLnBrk="1" fontAlgn="auto" latinLnBrk="0" hangingPunct="1">
              <a:lnSpc>
                <a:spcPct val="90000"/>
              </a:lnSpc>
              <a:spcBef>
                <a:spcPts val="0"/>
              </a:spcBef>
              <a:spcAft>
                <a:spcPts val="340"/>
              </a:spcAft>
              <a:buClrTx/>
              <a:buSzTx/>
              <a:buFont typeface="Arial" pitchFamily="34" charset="0"/>
              <a:buNone/>
              <a:tabLst/>
              <a:defRPr/>
            </a:pPr>
            <a:r>
              <a:rPr lang="en-US" sz="800" dirty="0">
                <a:latin typeface="+mn-lt"/>
                <a:cs typeface="Segoe UI"/>
              </a:rPr>
              <a:t>Procurement</a:t>
            </a:r>
          </a:p>
          <a:p>
            <a:pPr marL="0" lvl="1" indent="0" defTabSz="932742">
              <a:spcAft>
                <a:spcPts val="340"/>
              </a:spcAft>
              <a:buNone/>
              <a:defRPr/>
            </a:pPr>
            <a:r>
              <a:rPr lang="en-US" sz="800" dirty="0">
                <a:latin typeface="+mn-lt"/>
                <a:cs typeface="Segoe UI"/>
              </a:rPr>
              <a:t>Product Development Lifecycle</a:t>
            </a:r>
          </a:p>
          <a:p>
            <a:pPr marL="0" lvl="1" indent="0" defTabSz="932742">
              <a:spcAft>
                <a:spcPts val="340"/>
              </a:spcAft>
              <a:buNone/>
              <a:defRPr/>
            </a:pPr>
            <a:r>
              <a:rPr lang="en-US" sz="800" dirty="0">
                <a:latin typeface="+mn-lt"/>
                <a:cs typeface="Segoe UI"/>
              </a:rPr>
              <a:t>Sales, Marketing &amp; Communications</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PRISM FY16</a:t>
            </a:r>
          </a:p>
        </p:txBody>
      </p:sp>
      <p:sp>
        <p:nvSpPr>
          <p:cNvPr id="5" name="Footer Placeholder 4"/>
          <p:cNvSpPr>
            <a:spLocks noGrp="1"/>
          </p:cNvSpPr>
          <p:nvPr>
            <p:ph type="ftr" sz="quarter" idx="11"/>
          </p:nvPr>
        </p:nvSpPr>
        <p:spPr/>
        <p:txBody>
          <a:bodyPr/>
          <a:lstStyle/>
          <a:p>
            <a:pPr marL="571500" marR="0" lvl="0" indent="0" algn="l" defTabSz="9313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5/2021 4: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692930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902E036-7885-4D18-81CB-35E350EE24C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25/2021 4:1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8" name="Notes Placeholder 7"/>
          <p:cNvSpPr>
            <a:spLocks noGrp="1"/>
          </p:cNvSpPr>
          <p:nvPr>
            <p:ph type="body" sz="quarter" idx="14"/>
          </p:nvPr>
        </p:nvSpPr>
        <p:spPr/>
        <p:txBody>
          <a:bodyPr/>
          <a:lstStyle/>
          <a:p>
            <a:pPr marL="0" marR="0">
              <a:lnSpc>
                <a:spcPct val="107000"/>
              </a:lnSpc>
              <a:spcBef>
                <a:spcPts val="0"/>
              </a:spcBef>
              <a:spcAft>
                <a:spcPts val="800"/>
              </a:spcAft>
            </a:pPr>
            <a:r>
              <a:rPr lang="en-US" sz="1200" dirty="0">
                <a:solidFill>
                  <a:srgbClr val="000000"/>
                </a:solidFill>
                <a:effectLst/>
                <a:latin typeface="Calibri" panose="020F0502020204030204" pitchFamily="34" charset="0"/>
                <a:ea typeface="Calibri" panose="020F0502020204030204" pitchFamily="34" charset="0"/>
                <a:cs typeface="Arial" panose="020B0604020202020204" pitchFamily="34" charset="0"/>
              </a:rPr>
              <a:t>Initially, much of our effort was in scoping the amount of work needed. </a:t>
            </a:r>
          </a:p>
          <a:p>
            <a:pPr marL="0" marR="0">
              <a:lnSpc>
                <a:spcPct val="107000"/>
              </a:lnSpc>
              <a:spcBef>
                <a:spcPts val="0"/>
              </a:spcBef>
              <a:spcAft>
                <a:spcPts val="800"/>
              </a:spcAft>
            </a:pPr>
            <a:r>
              <a:rPr lang="en-US" sz="1200" dirty="0">
                <a:solidFill>
                  <a:srgbClr val="000000"/>
                </a:solidFill>
                <a:effectLst/>
                <a:latin typeface="Calibri" panose="020F0502020204030204" pitchFamily="34" charset="0"/>
                <a:ea typeface="Calibri" panose="020F0502020204030204" pitchFamily="34" charset="0"/>
                <a:cs typeface="Arial" panose="020B0604020202020204" pitchFamily="34" charset="0"/>
              </a:rPr>
              <a:t>This was a collaboration across Microsoft teams, including engineering, finance, marketing, and HR. </a:t>
            </a:r>
          </a:p>
          <a:p>
            <a:pPr marL="0" marR="0">
              <a:lnSpc>
                <a:spcPct val="107000"/>
              </a:lnSpc>
              <a:spcBef>
                <a:spcPts val="0"/>
              </a:spcBef>
              <a:spcAft>
                <a:spcPts val="800"/>
              </a:spcAft>
            </a:pPr>
            <a:r>
              <a:rPr lang="en-US" sz="1200" dirty="0">
                <a:solidFill>
                  <a:srgbClr val="000000"/>
                </a:solidFill>
                <a:effectLst/>
                <a:latin typeface="Calibri" panose="020F0502020204030204" pitchFamily="34" charset="0"/>
                <a:ea typeface="Calibri" panose="020F0502020204030204" pitchFamily="34" charset="0"/>
                <a:cs typeface="Arial" panose="020B0604020202020204" pitchFamily="34" charset="0"/>
              </a:rPr>
              <a:t>As we matured, these forecasts and plans shifted to putting the right people, tools, processes, training, testing and design resources in place so that new products could be created, from the start, with accessibility in mind. </a:t>
            </a:r>
            <a:endParaRPr lang="en-US" sz="1200" dirty="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0"/>
              </a:spcAft>
            </a:pPr>
            <a:endParaRPr lang="en-US" sz="1000" dirty="0">
              <a:latin typeface="+mn-lt"/>
              <a:cs typeface="Segoe UI"/>
            </a:endParaRPr>
          </a:p>
          <a:p>
            <a:pPr>
              <a:lnSpc>
                <a:spcPct val="107000"/>
              </a:lnSpc>
              <a:spcAft>
                <a:spcPts val="0"/>
              </a:spcAft>
            </a:pPr>
            <a:r>
              <a:rPr lang="en-US" sz="1000" dirty="0">
                <a:latin typeface="+mn-lt"/>
                <a:cs typeface="Segoe UI"/>
              </a:rPr>
              <a:t>Microsoft learnings:</a:t>
            </a:r>
          </a:p>
          <a:p>
            <a:pPr marL="285750" indent="-285750">
              <a:lnSpc>
                <a:spcPct val="107000"/>
              </a:lnSpc>
              <a:spcAft>
                <a:spcPts val="600"/>
              </a:spcAft>
              <a:buFont typeface="Arial,Sans-Serif"/>
              <a:buChar char="•"/>
            </a:pPr>
            <a:r>
              <a:rPr lang="en-US" sz="1000" dirty="0">
                <a:latin typeface="+mn-lt"/>
                <a:cs typeface="Segoe UI"/>
              </a:rPr>
              <a:t>Waiting until the last phase of development to address accessibility takes more time and costs more money</a:t>
            </a:r>
          </a:p>
          <a:p>
            <a:pPr marL="285750" indent="-285750">
              <a:lnSpc>
                <a:spcPct val="107000"/>
              </a:lnSpc>
              <a:spcAft>
                <a:spcPts val="600"/>
              </a:spcAft>
              <a:buFont typeface="Arial,Sans-Serif"/>
              <a:buChar char="•"/>
            </a:pPr>
            <a:r>
              <a:rPr lang="en-US" sz="1000" dirty="0">
                <a:latin typeface="+mn-lt"/>
                <a:cs typeface="Segoe UI"/>
              </a:rPr>
              <a:t>As organizations mature the processes, tools, and engineering knowledge and capabilities, costs related to accessibility should decrease.</a:t>
            </a:r>
          </a:p>
        </p:txBody>
      </p:sp>
      <p:sp>
        <p:nvSpPr>
          <p:cNvPr id="9" name="Footer Placeholder 8"/>
          <p:cNvSpPr>
            <a:spLocks noGrp="1"/>
          </p:cNvSpPr>
          <p:nvPr>
            <p:ph type="ftr" sz="quarter" idx="15"/>
          </p:nvPr>
        </p:nvSpPr>
        <p:spPr/>
        <p:txBody>
          <a:bodyPr/>
          <a:lstStyle/>
          <a:p>
            <a:pPr marL="571500" marR="0" lvl="0" indent="0" algn="l" defTabSz="9313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10" name="Header Placeholder 9"/>
          <p:cNvSpPr>
            <a:spLocks noGrp="1"/>
          </p:cNvSpPr>
          <p:nvPr>
            <p:ph type="hdr" sz="quarter" idx="16"/>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Our culture</a:t>
            </a:r>
          </a:p>
        </p:txBody>
      </p:sp>
    </p:spTree>
    <p:extLst>
      <p:ext uri="{BB962C8B-B14F-4D97-AF65-F5344CB8AC3E}">
        <p14:creationId xmlns:p14="http://schemas.microsoft.com/office/powerpoint/2010/main" val="17139721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0" i="0" kern="1200">
                <a:solidFill>
                  <a:schemeClr val="tx1"/>
                </a:solidFill>
                <a:effectLst/>
                <a:latin typeface="+mn-lt"/>
                <a:ea typeface="+mn-ea"/>
                <a:cs typeface="+mn-cs"/>
              </a:rPr>
              <a:t>Unlock your content for everyone. Office 365 apps include an </a:t>
            </a:r>
            <a:r>
              <a:rPr lang="en-US" sz="1200" b="0" i="0" u="none" strike="noStrike" kern="1200">
                <a:solidFill>
                  <a:schemeClr val="tx1"/>
                </a:solidFill>
                <a:effectLst/>
                <a:latin typeface="+mn-lt"/>
                <a:ea typeface="+mn-ea"/>
                <a:cs typeface="+mn-cs"/>
                <a:hlinkClick r:id="rId3"/>
              </a:rPr>
              <a:t>Accessibility Checker</a:t>
            </a:r>
            <a:r>
              <a:rPr lang="en-US" sz="1200" b="0" i="0" kern="1200">
                <a:solidFill>
                  <a:schemeClr val="tx1"/>
                </a:solidFill>
                <a:effectLst/>
                <a:latin typeface="+mn-lt"/>
                <a:ea typeface="+mn-ea"/>
                <a:cs typeface="+mn-cs"/>
              </a:rPr>
              <a:t> that finds accessibility problems and lists suggestions, or you can find specific tips for making your content accessible to all for the products and platforms listed below. </a:t>
            </a:r>
            <a:endParaRPr lang="en-US"/>
          </a:p>
          <a:p>
            <a:endParaRPr lang="en-US"/>
          </a:p>
        </p:txBody>
      </p:sp>
      <p:sp>
        <p:nvSpPr>
          <p:cNvPr id="4" name="Header Placeholder 3"/>
          <p:cNvSpPr>
            <a:spLocks noGrp="1"/>
          </p:cNvSpPr>
          <p:nvPr>
            <p:ph type="hdr" sz="quarter"/>
          </p:nvPr>
        </p:nvSpPr>
        <p:spPr/>
        <p:txBody>
          <a:bodyPr/>
          <a:lstStyle/>
          <a:p>
            <a:pPr marL="0" marR="0" lvl="0" indent="0" algn="l" defTabSz="93251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1088143" rtl="0" eaLnBrk="0" fontAlgn="auto" latinLnBrk="0" hangingPunct="0">
              <a:lnSpc>
                <a:spcPct val="100000"/>
              </a:lnSpc>
              <a:spcBef>
                <a:spcPts val="0"/>
              </a:spcBef>
              <a:spcAft>
                <a:spcPts val="0"/>
              </a:spcAft>
              <a:buClrTx/>
              <a:buSzTx/>
              <a:buFontTx/>
              <a:buNone/>
              <a:tabLst/>
              <a:defRPr/>
            </a:pPr>
            <a:r>
              <a:rPr kumimoji="0" lang="en-US" sz="5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2513"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513" rtl="0" eaLnBrk="1" fontAlgn="auto" latinLnBrk="0" hangingPunct="1">
                <a:lnSpc>
                  <a:spcPct val="100000"/>
                </a:lnSpc>
                <a:spcBef>
                  <a:spcPts val="0"/>
                </a:spcBef>
                <a:spcAft>
                  <a:spcPts val="0"/>
                </a:spcAft>
                <a:buClrTx/>
                <a:buSzTx/>
                <a:buFontTx/>
                <a:buNone/>
                <a:tabLst/>
                <a:defRPr/>
              </a:pPr>
              <a:t>5/25/2021 4:1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51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513"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18237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spcAft>
                <a:spcPts val="0"/>
              </a:spcAft>
            </a:pPr>
            <a:r>
              <a:rPr lang="en-US" sz="1200" u="sng" dirty="0">
                <a:latin typeface="Segoe UI"/>
                <a:cs typeface="Segoe UI"/>
              </a:rPr>
              <a:t>At Microsoft</a:t>
            </a:r>
          </a:p>
          <a:p>
            <a:pPr marL="171450" indent="-171450">
              <a:lnSpc>
                <a:spcPct val="100000"/>
              </a:lnSpc>
              <a:spcAft>
                <a:spcPts val="0"/>
              </a:spcAft>
              <a:buFont typeface="Arial" panose="020B0604020202020204" pitchFamily="34" charset="0"/>
              <a:buChar char="•"/>
            </a:pPr>
            <a:r>
              <a:rPr lang="en-US" sz="1200" dirty="0">
                <a:latin typeface="Segoe UI"/>
                <a:cs typeface="Segoe UI"/>
              </a:rPr>
              <a:t>To create knowledge, excitement, and pride in building accessible experiences, we developed our Accessibility in Action digital badge for Microsoft employees. It’s one way that we can help our employees put our principles into practice. </a:t>
            </a:r>
          </a:p>
          <a:p>
            <a:pPr marL="171450" indent="-171450">
              <a:lnSpc>
                <a:spcPct val="100000"/>
              </a:lnSpc>
              <a:spcAft>
                <a:spcPts val="0"/>
              </a:spcAft>
              <a:buFont typeface="Arial" panose="020B0604020202020204" pitchFamily="34" charset="0"/>
              <a:buChar char="•"/>
            </a:pPr>
            <a:r>
              <a:rPr lang="en-US" sz="1200" dirty="0">
                <a:latin typeface="Segoe UI"/>
                <a:cs typeface="Segoe UI"/>
              </a:rPr>
              <a:t>Earners of the badge have familiarized themselves with the knowledge and skills required to create an inclusive culture, implement accessibility best practices, present inclusively, and host inclusive events. Earners also understand how accessibility is part of Microsoft's mission of </a:t>
            </a:r>
            <a:r>
              <a:rPr lang="en-US" sz="1200" i="1" dirty="0">
                <a:latin typeface="Segoe UI"/>
                <a:cs typeface="Segoe UI"/>
              </a:rPr>
              <a:t>empowering every person and every organization on the planet to achieve more</a:t>
            </a:r>
            <a:r>
              <a:rPr lang="en-US" sz="1200" dirty="0">
                <a:latin typeface="Segoe UI"/>
                <a:cs typeface="Segoe UI"/>
              </a:rPr>
              <a:t> and are dedicated to creating accessible and inclusive experiences for everyone.</a:t>
            </a:r>
          </a:p>
          <a:p>
            <a:pPr>
              <a:lnSpc>
                <a:spcPct val="100000"/>
              </a:lnSpc>
              <a:spcAft>
                <a:spcPts val="0"/>
              </a:spcAft>
            </a:pPr>
            <a:endParaRPr lang="en-US" sz="1200" dirty="0">
              <a:cs typeface="Segoe UI"/>
            </a:endParaRPr>
          </a:p>
          <a:p>
            <a:pPr>
              <a:lnSpc>
                <a:spcPct val="100000"/>
              </a:lnSpc>
              <a:spcAft>
                <a:spcPts val="0"/>
              </a:spcAft>
            </a:pPr>
            <a:r>
              <a:rPr lang="en-US" sz="1200" u="sng" dirty="0">
                <a:cs typeface="Segoe UI"/>
              </a:rPr>
              <a:t>For other organizations</a:t>
            </a:r>
          </a:p>
          <a:p>
            <a:pPr marL="171450" indent="-171450">
              <a:lnSpc>
                <a:spcPct val="100000"/>
              </a:lnSpc>
              <a:spcAft>
                <a:spcPts val="0"/>
              </a:spcAft>
              <a:buFont typeface="Arial" panose="020B0604020202020204" pitchFamily="34" charset="0"/>
              <a:buChar char="•"/>
            </a:pPr>
            <a:r>
              <a:rPr lang="en-US" sz="1200" dirty="0">
                <a:latin typeface="Segoe UI"/>
                <a:cs typeface="Segoe UI"/>
              </a:rPr>
              <a:t>In order to help other organizations, we have created the Accessibility Fundamentals training series so that they can learn how to create experiences that are accessible for people of all abilities. It is available to anyone, so if you or someone in your organization would like to learn more, check out our Accessibility Fundamentals courses at: https://docs.microsoft.com/en-us/learn/paths/accessibility-fundamentals/ </a:t>
            </a:r>
          </a:p>
          <a:p>
            <a:pPr marL="171450" indent="-171450">
              <a:lnSpc>
                <a:spcPct val="100000"/>
              </a:lnSpc>
              <a:spcAft>
                <a:spcPts val="0"/>
              </a:spcAft>
              <a:buFont typeface="Arial" panose="020B0604020202020204" pitchFamily="34" charset="0"/>
              <a:buChar char="•"/>
            </a:pPr>
            <a:r>
              <a:rPr lang="en-US" sz="1200" dirty="0">
                <a:latin typeface="Segoe UI"/>
                <a:cs typeface="Segoe UI"/>
              </a:rPr>
              <a:t>We’ve also created a special program for Educators that gives teachers the information they need to </a:t>
            </a:r>
            <a:r>
              <a:rPr lang="en-US" sz="3200" b="0" i="0" dirty="0">
                <a:solidFill>
                  <a:srgbClr val="000000"/>
                </a:solidFill>
                <a:effectLst/>
                <a:latin typeface="Segoe UI" panose="020B0502040204020203" pitchFamily="34" charset="0"/>
              </a:rPr>
              <a:t>provide personalized learning experiences to meet the needs of diverse learners. </a:t>
            </a:r>
            <a:r>
              <a:rPr lang="en-US" sz="3200" dirty="0">
                <a:hlinkClick r:id="rId3"/>
              </a:rPr>
              <a:t>Accessibility tools: Meeting the needs of diverse learners - Microsoft Educator Center</a:t>
            </a:r>
            <a:endParaRPr lang="en-US" sz="1200" dirty="0">
              <a:cs typeface="Segoe UI"/>
            </a:endParaRPr>
          </a:p>
          <a:p>
            <a:endParaRPr lang="en-US" sz="1200" kern="1200" dirty="0">
              <a:solidFill>
                <a:schemeClr val="tx1"/>
              </a:solidFill>
              <a:effectLst/>
              <a:latin typeface="+mn-lt"/>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D7FAFB-9B7B-4BD9-B2B0-FBCA19502194}"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6452286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6.xml"/><Relationship Id="rId4" Type="http://schemas.openxmlformats.org/officeDocument/2006/relationships/image" Target="../media/image24.jpe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null)"/><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0.emf"/><Relationship Id="rId1" Type="http://schemas.openxmlformats.org/officeDocument/2006/relationships/slideMaster" Target="../slideMasters/slideMaster7.xml"/><Relationship Id="rId4" Type="http://schemas.openxmlformats.org/officeDocument/2006/relationships/image" Target="../media/image26.svg"/></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emf"/><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10.emf"/><Relationship Id="rId1" Type="http://schemas.openxmlformats.org/officeDocument/2006/relationships/slideMaster" Target="../slideMasters/slideMaster8.xml"/><Relationship Id="rId4" Type="http://schemas.openxmlformats.org/officeDocument/2006/relationships/image" Target="../media/image32.svg"/></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6.emf"/><Relationship Id="rId4" Type="http://schemas.openxmlformats.org/officeDocument/2006/relationships/oleObject" Target="../embeddings/oleObject2.bin"/></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6.emf"/><Relationship Id="rId4" Type="http://schemas.openxmlformats.org/officeDocument/2006/relationships/oleObject" Target="../embeddings/oleObject3.bin"/></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6.emf"/><Relationship Id="rId4" Type="http://schemas.openxmlformats.org/officeDocument/2006/relationships/oleObject" Target="../embeddings/oleObject1.bin"/></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hoto_Option">
    <p:bg>
      <p:bgPr>
        <a:solidFill>
          <a:srgbClr val="1878C0"/>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163585" y="1728540"/>
            <a:ext cx="6276530" cy="1793104"/>
          </a:xfrm>
          <a:noFill/>
        </p:spPr>
        <p:txBody>
          <a:bodyPr lIns="146304" tIns="91440" rIns="146304" bIns="91440" anchor="t" anchorCtr="0"/>
          <a:lstStyle>
            <a:lvl1pPr marL="0" algn="l" defTabSz="914192" rtl="0" eaLnBrk="1" latinLnBrk="0" hangingPunct="1">
              <a:lnSpc>
                <a:spcPct val="90000"/>
              </a:lnSpc>
              <a:spcBef>
                <a:spcPct val="0"/>
              </a:spcBef>
              <a:buNone/>
              <a:defRPr lang="en-US" sz="5293" b="0" kern="1200" cap="none" spc="-88" baseline="0" dirty="0">
                <a:ln w="3175">
                  <a:noFill/>
                </a:ln>
                <a:gradFill>
                  <a:gsLst>
                    <a:gs pos="1250">
                      <a:srgbClr val="FFFFFF"/>
                    </a:gs>
                    <a:gs pos="100000">
                      <a:srgbClr val="FFFFFF"/>
                    </a:gs>
                  </a:gsLst>
                  <a:lin ang="5400000" scaled="0"/>
                </a:gradFill>
                <a:effectLst/>
                <a:latin typeface="+mj-lt"/>
                <a:ea typeface="+mn-ea"/>
                <a:cs typeface="Segoe UI" pitchFamily="34" charset="0"/>
              </a:defRPr>
            </a:lvl1pPr>
          </a:lstStyle>
          <a:p>
            <a:r>
              <a:rPr lang="en-US"/>
              <a:t>Presentation title</a:t>
            </a:r>
          </a:p>
        </p:txBody>
      </p:sp>
      <p:pic>
        <p:nvPicPr>
          <p:cNvPr id="29" name="Picture 2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8628" y="6092832"/>
            <a:ext cx="1523922" cy="560644"/>
          </a:xfrm>
          <a:prstGeom prst="rect">
            <a:avLst/>
          </a:prstGeom>
        </p:spPr>
      </p:pic>
    </p:spTree>
    <p:extLst>
      <p:ext uri="{BB962C8B-B14F-4D97-AF65-F5344CB8AC3E}">
        <p14:creationId xmlns:p14="http://schemas.microsoft.com/office/powerpoint/2010/main" val="218422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9"/>
          <p:cNvSpPr/>
          <p:nvPr userDrawn="1"/>
        </p:nvSpPr>
        <p:spPr bwMode="auto">
          <a:xfrm>
            <a:off x="2454" y="1865"/>
            <a:ext cx="12187096" cy="6854270"/>
          </a:xfrm>
          <a:custGeom>
            <a:avLst/>
            <a:gdLst/>
            <a:ahLst/>
            <a:cxnLst/>
            <a:rect l="l" t="t" r="r" b="b"/>
            <a:pathLst>
              <a:path w="12192000" h="6858000">
                <a:moveTo>
                  <a:pt x="151796" y="142313"/>
                </a:moveTo>
                <a:lnTo>
                  <a:pt x="151796" y="6715694"/>
                </a:lnTo>
                <a:lnTo>
                  <a:pt x="12035481" y="6715694"/>
                </a:lnTo>
                <a:lnTo>
                  <a:pt x="12035481" y="142313"/>
                </a:lnTo>
                <a:close/>
                <a:moveTo>
                  <a:pt x="0" y="0"/>
                </a:moveTo>
                <a:lnTo>
                  <a:pt x="12192000" y="0"/>
                </a:lnTo>
                <a:lnTo>
                  <a:pt x="12192000" y="6858000"/>
                </a:lnTo>
                <a:lnTo>
                  <a:pt x="0" y="685800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51" rIns="179187" bIns="143351" numCol="1" spcCol="0" rtlCol="0" fromWordArt="0" anchor="t" anchorCtr="0" forceAA="0" compatLnSpc="1">
            <a:prstTxWarp prst="textNoShape">
              <a:avLst/>
            </a:prstTxWarp>
            <a:noAutofit/>
          </a:bodyPr>
          <a:lstStyle/>
          <a:p>
            <a:pPr algn="ctr" defTabSz="913565" fontAlgn="base">
              <a:lnSpc>
                <a:spcPct val="90000"/>
              </a:lnSpc>
              <a:spcBef>
                <a:spcPct val="0"/>
              </a:spcBef>
              <a:spcAft>
                <a:spcPct val="0"/>
              </a:spcAft>
            </a:pPr>
            <a:endParaRPr lang="en-US" sz="2352"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83213567"/>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97541"/>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7481"/>
            <a:ext cx="5212080" cy="1268039"/>
          </a:xfrm>
        </p:spPr>
        <p:txBody>
          <a:bodyPr wrap="square">
            <a:spAutoFit/>
          </a:bodyPr>
          <a:lstStyle>
            <a:lvl1pPr marL="231775" indent="-231775">
              <a:spcBef>
                <a:spcPts val="1224"/>
              </a:spcBef>
              <a:buClr>
                <a:schemeClr val="tx1"/>
              </a:buClr>
              <a:buFont typeface="Wingdings" panose="05000000000000000000" pitchFamily="2" charset="2"/>
              <a:buChar char=""/>
              <a:defRPr sz="2000" b="0">
                <a:solidFill>
                  <a:srgbClr val="000000"/>
                </a:solidFill>
                <a:latin typeface="+mn-lt"/>
                <a:cs typeface="Segoe UI Semilight" panose="020B0402040204020203" pitchFamily="34" charset="0"/>
              </a:defRPr>
            </a:lvl1pPr>
            <a:lvl2pPr marL="427038" indent="-171450">
              <a:buFont typeface="Wingdings" panose="05000000000000000000" pitchFamily="2" charset="2"/>
              <a:buChar char=""/>
              <a:defRPr sz="1600" b="0">
                <a:solidFill>
                  <a:srgbClr val="000000"/>
                </a:solidFill>
              </a:defRPr>
            </a:lvl2pPr>
            <a:lvl3pPr marL="639763" indent="-188913">
              <a:buFont typeface="Wingdings" panose="05000000000000000000" pitchFamily="2" charset="2"/>
              <a:buChar char=""/>
              <a:tabLst/>
              <a:defRPr sz="1400" b="0">
                <a:solidFill>
                  <a:srgbClr val="000000"/>
                </a:solidFill>
              </a:defRPr>
            </a:lvl3pPr>
            <a:lvl4pPr marL="828675" indent="-176213">
              <a:buFont typeface="Wingdings" panose="05000000000000000000" pitchFamily="2" charset="2"/>
              <a:buChar char=""/>
              <a:defRPr sz="1200" b="0">
                <a:solidFill>
                  <a:srgbClr val="000000"/>
                </a:solidFill>
              </a:defRPr>
            </a:lvl4pPr>
            <a:lvl5pPr marL="1023938" indent="-169863">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1EF8841F-D2F8-0646-B645-839893A70343}"/>
              </a:ext>
            </a:extLst>
          </p:cNvPr>
          <p:cNvSpPr>
            <a:spLocks noGrp="1"/>
          </p:cNvSpPr>
          <p:nvPr>
            <p:ph type="body" sz="quarter" idx="12"/>
          </p:nvPr>
        </p:nvSpPr>
        <p:spPr>
          <a:xfrm>
            <a:off x="6392849" y="1437481"/>
            <a:ext cx="5212080" cy="1268039"/>
          </a:xfrm>
        </p:spPr>
        <p:txBody>
          <a:bodyPr wrap="square">
            <a:spAutoFit/>
          </a:bodyPr>
          <a:lstStyle>
            <a:lvl1pPr marL="231775" indent="-231775">
              <a:spcBef>
                <a:spcPts val="1224"/>
              </a:spcBef>
              <a:buClr>
                <a:schemeClr val="tx1"/>
              </a:buClr>
              <a:buFont typeface="Wingdings" panose="05000000000000000000" pitchFamily="2" charset="2"/>
              <a:buChar char=""/>
              <a:defRPr sz="2000" b="0">
                <a:solidFill>
                  <a:srgbClr val="000000"/>
                </a:solidFill>
                <a:latin typeface="+mn-lt"/>
                <a:cs typeface="Segoe UI Semilight" panose="020B0402040204020203" pitchFamily="34" charset="0"/>
              </a:defRPr>
            </a:lvl1pPr>
            <a:lvl2pPr marL="427038" indent="-171450">
              <a:buFont typeface="Wingdings" panose="05000000000000000000" pitchFamily="2" charset="2"/>
              <a:buChar char=""/>
              <a:defRPr sz="1600" b="0">
                <a:solidFill>
                  <a:srgbClr val="000000"/>
                </a:solidFill>
              </a:defRPr>
            </a:lvl2pPr>
            <a:lvl3pPr marL="639763" indent="-188913">
              <a:buFont typeface="Wingdings" panose="05000000000000000000" pitchFamily="2" charset="2"/>
              <a:buChar char=""/>
              <a:tabLst/>
              <a:defRPr sz="1400" b="0">
                <a:solidFill>
                  <a:srgbClr val="000000"/>
                </a:solidFill>
              </a:defRPr>
            </a:lvl3pPr>
            <a:lvl4pPr marL="828675" indent="-176213">
              <a:buFont typeface="Wingdings" panose="05000000000000000000" pitchFamily="2" charset="2"/>
              <a:buChar char=""/>
              <a:defRPr sz="1200" b="0">
                <a:solidFill>
                  <a:srgbClr val="000000"/>
                </a:solidFill>
              </a:defRPr>
            </a:lvl4pPr>
            <a:lvl5pPr marL="1023938" indent="-169863">
              <a:buFont typeface="Wingdings" panose="05000000000000000000" pitchFamily="2" charset="2"/>
              <a:buChar char=""/>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9EF2168D-ABC8-AA43-9EDB-A155583EFD61}"/>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38576554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1"/>
            <a:ext cx="11018520" cy="430887"/>
          </a:xfrm>
        </p:spPr>
        <p:txBody>
          <a:bodyPr/>
          <a:lstStyle>
            <a:lvl1pPr>
              <a:defRPr sz="2800">
                <a:solidFill>
                  <a:srgbClr val="000000"/>
                </a:soli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271730978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97541"/>
            <a:ext cx="11018520" cy="430887"/>
          </a:xfrm>
        </p:spPr>
        <p:txBody>
          <a:bodyPr/>
          <a:lstStyle>
            <a:lvl1pPr>
              <a:defRPr sz="2800">
                <a:solidFill>
                  <a:srgbClr val="000000"/>
                </a:solidFill>
              </a:defRPr>
            </a:lvl1pPr>
          </a:lstStyle>
          <a:p>
            <a:r>
              <a:rPr lang="en-US"/>
              <a:t>Click to edit Master title style</a:t>
            </a:r>
          </a:p>
        </p:txBody>
      </p:sp>
      <p:sp>
        <p:nvSpPr>
          <p:cNvPr id="4" name="Footer Placeholder 10">
            <a:extLst>
              <a:ext uri="{FF2B5EF4-FFF2-40B4-BE49-F238E27FC236}">
                <a16:creationId xmlns:a16="http://schemas.microsoft.com/office/drawing/2014/main" id="{59A66667-56DD-0944-88F2-9EEF75B94EA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4876873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mall title - half pag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84094"/>
            <a:ext cx="5508419" cy="372410"/>
          </a:xfrm>
        </p:spPr>
        <p:txBody>
          <a:bodyPr tIns="64008"/>
          <a:lstStyle>
            <a:lvl1pPr>
              <a:defRPr sz="2000" spc="0">
                <a:solidFill>
                  <a:srgbClr val="000000"/>
                </a:solidFill>
                <a:latin typeface="+mj-lt"/>
                <a:cs typeface="Segoe UI" panose="020B0502040204020203" pitchFamily="34" charset="0"/>
              </a:defRPr>
            </a:lvl1pPr>
          </a:lstStyle>
          <a:p>
            <a:r>
              <a:rPr lang="en-US"/>
              <a:t>Click to edit Master title style</a:t>
            </a:r>
          </a:p>
        </p:txBody>
      </p:sp>
      <p:sp>
        <p:nvSpPr>
          <p:cNvPr id="3" name="Footer Placeholder 10">
            <a:extLst>
              <a:ext uri="{FF2B5EF4-FFF2-40B4-BE49-F238E27FC236}">
                <a16:creationId xmlns:a16="http://schemas.microsoft.com/office/drawing/2014/main" id="{04552FE7-359D-6544-B2BC-512289B79DF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22683429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271872"/>
            <a:ext cx="4161981" cy="861774"/>
          </a:xfrm>
        </p:spPr>
        <p:txBody>
          <a:bodyPr wrap="square" rIns="0" anchor="b">
            <a:spAutoFit/>
          </a:bodyPr>
          <a:lstStyle>
            <a:lvl1pPr>
              <a:lnSpc>
                <a:spcPct val="100000"/>
              </a:lnSpc>
              <a:defRPr sz="2800" b="0" spc="-49" baseline="0">
                <a:solidFill>
                  <a:srgbClr val="000000"/>
                </a:soli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246221"/>
          </a:xfrm>
        </p:spPr>
        <p:txBody>
          <a:bodyPr/>
          <a:lstStyle>
            <a:lvl1pPr marL="0" indent="0">
              <a:buNone/>
              <a:defRPr sz="1600">
                <a:solidFill>
                  <a:srgbClr val="000000"/>
                </a:solidFill>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2137469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998113"/>
            <a:ext cx="4161981" cy="861774"/>
          </a:xfrm>
        </p:spPr>
        <p:txBody>
          <a:bodyPr wrap="square" rIns="0" anchor="ctr" anchorCtr="0">
            <a:spAutoFit/>
          </a:bodyPr>
          <a:lstStyle>
            <a:lvl1pPr>
              <a:lnSpc>
                <a:spcPct val="100000"/>
              </a:lnSpc>
              <a:defRPr sz="2800" b="0" spc="-49" baseline="0">
                <a:solidFill>
                  <a:srgbClr val="000000"/>
                </a:soli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23390979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615553"/>
          </a:xfrm>
        </p:spPr>
        <p:txBody>
          <a:bodyPr wrap="square" anchor="t">
            <a:spAutoFit/>
          </a:bodyPr>
          <a:lstStyle>
            <a:lvl1pPr>
              <a:lnSpc>
                <a:spcPct val="100000"/>
              </a:lnSpc>
              <a:defRPr sz="20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extLst>
                <a:ext uri="{28A0092B-C50C-407E-A947-70E740481C1C}">
                  <a14:useLocalDpi xmlns:a14="http://schemas.microsoft.com/office/drawing/2010/main"/>
                </a:ext>
              </a:extLst>
            </a:blip>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1132962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ustomer slid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1436688"/>
            <a:ext cx="4783837" cy="531159"/>
          </a:xfrm>
        </p:spPr>
        <p:txBody>
          <a:bodyPr/>
          <a:lstStyle>
            <a:lvl1pPr>
              <a:defRPr sz="2800">
                <a:solidFill>
                  <a:srgbClr val="000000"/>
                </a:solidFill>
              </a:defRPr>
            </a:lvl1pPr>
          </a:lstStyle>
          <a:p>
            <a:r>
              <a:rPr lang="en-US"/>
              <a:t>Click to edit Master title style</a:t>
            </a:r>
          </a:p>
        </p:txBody>
      </p:sp>
      <p:sp>
        <p:nvSpPr>
          <p:cNvPr id="4" name="Footer Placeholder 10">
            <a:extLst>
              <a:ext uri="{FF2B5EF4-FFF2-40B4-BE49-F238E27FC236}">
                <a16:creationId xmlns:a16="http://schemas.microsoft.com/office/drawing/2014/main" id="{59A66667-56DD-0944-88F2-9EEF75B94EA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
        <p:nvSpPr>
          <p:cNvPr id="6" name="Picture Placeholder 5">
            <a:extLst>
              <a:ext uri="{FF2B5EF4-FFF2-40B4-BE49-F238E27FC236}">
                <a16:creationId xmlns:a16="http://schemas.microsoft.com/office/drawing/2014/main" id="{C5642722-D7D4-4292-8486-B9C58D6F5DAB}"/>
              </a:ext>
            </a:extLst>
          </p:cNvPr>
          <p:cNvSpPr>
            <a:spLocks noGrp="1"/>
          </p:cNvSpPr>
          <p:nvPr>
            <p:ph type="pic" sz="quarter" idx="12"/>
          </p:nvPr>
        </p:nvSpPr>
        <p:spPr>
          <a:xfrm>
            <a:off x="6096000" y="292100"/>
            <a:ext cx="5802313" cy="6272213"/>
          </a:xfrm>
        </p:spPr>
        <p:txBody>
          <a:bodyPr/>
          <a:lstStyle/>
          <a:p>
            <a:endParaRPr lang="en-US"/>
          </a:p>
        </p:txBody>
      </p:sp>
      <p:sp>
        <p:nvSpPr>
          <p:cNvPr id="9" name="Text Placeholder 3">
            <a:extLst>
              <a:ext uri="{FF2B5EF4-FFF2-40B4-BE49-F238E27FC236}">
                <a16:creationId xmlns:a16="http://schemas.microsoft.com/office/drawing/2014/main" id="{684A8A37-87DC-4115-8A3D-D0FE149E99E0}"/>
              </a:ext>
            </a:extLst>
          </p:cNvPr>
          <p:cNvSpPr>
            <a:spLocks noGrp="1"/>
          </p:cNvSpPr>
          <p:nvPr>
            <p:ph type="body" sz="quarter" idx="10"/>
          </p:nvPr>
        </p:nvSpPr>
        <p:spPr>
          <a:xfrm>
            <a:off x="584200" y="2160167"/>
            <a:ext cx="5212080" cy="1268039"/>
          </a:xfrm>
        </p:spPr>
        <p:txBody>
          <a:bodyPr wrap="square">
            <a:spAutoFit/>
          </a:bodyPr>
          <a:lstStyle>
            <a:lvl1pPr marL="0" indent="0">
              <a:spcBef>
                <a:spcPts val="1224"/>
              </a:spcBef>
              <a:buClr>
                <a:schemeClr val="tx1"/>
              </a:buClr>
              <a:buFont typeface="Wingdings" panose="05000000000000000000" pitchFamily="2" charset="2"/>
              <a:buNone/>
              <a:defRPr sz="2000" b="0">
                <a:solidFill>
                  <a:srgbClr val="000000"/>
                </a:solidFill>
                <a:latin typeface="+mn-lt"/>
                <a:cs typeface="Segoe UI Semilight" panose="020B0402040204020203" pitchFamily="34" charset="0"/>
              </a:defRPr>
            </a:lvl1pPr>
            <a:lvl2pPr marL="255588" indent="0">
              <a:buFont typeface="Wingdings" panose="05000000000000000000" pitchFamily="2" charset="2"/>
              <a:buNone/>
              <a:defRPr sz="1600" b="0">
                <a:solidFill>
                  <a:srgbClr val="000000"/>
                </a:solidFill>
              </a:defRPr>
            </a:lvl2pPr>
            <a:lvl3pPr marL="450850" indent="0">
              <a:buFont typeface="Wingdings" panose="05000000000000000000" pitchFamily="2" charset="2"/>
              <a:buNone/>
              <a:tabLst/>
              <a:defRPr sz="1400" b="0">
                <a:solidFill>
                  <a:srgbClr val="000000"/>
                </a:solidFill>
              </a:defRPr>
            </a:lvl3pPr>
            <a:lvl4pPr marL="652462" indent="0">
              <a:buFont typeface="Wingdings" panose="05000000000000000000" pitchFamily="2" charset="2"/>
              <a:buNone/>
              <a:defRPr sz="1200" b="0">
                <a:solidFill>
                  <a:srgbClr val="000000"/>
                </a:solidFill>
              </a:defRPr>
            </a:lvl4pPr>
            <a:lvl5pPr marL="854075"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707184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12">
          <p15:clr>
            <a:srgbClr val="5ACBF0"/>
          </p15:clr>
        </p15:guide>
        <p15:guide id="29" orient="horz" pos="1271">
          <p15:clr>
            <a:srgbClr val="5ACBF0"/>
          </p15:clr>
        </p15:guide>
        <p15:guide id="30" orient="horz" pos="28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5779216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535608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9846228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6929605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1169397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36206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000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0058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23006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2">
    <p:bg>
      <p:bgPr>
        <a:solidFill>
          <a:srgbClr val="1A1A1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038078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a:xfrm>
            <a:off x="588263" y="497541"/>
            <a:ext cx="11018520" cy="430887"/>
          </a:xfrm>
        </p:spPr>
        <p:txBody>
          <a:bodyPr/>
          <a:lstStyle>
            <a:lvl1pPr>
              <a:defRPr sz="2800"/>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CD7C51EB-D279-154E-8F43-40608F83D105}"/>
              </a:ext>
            </a:extLst>
          </p:cNvPr>
          <p:cNvSpPr>
            <a:spLocks noGrp="1"/>
          </p:cNvSpPr>
          <p:nvPr>
            <p:ph type="ftr" sz="quarter" idx="3"/>
          </p:nvPr>
        </p:nvSpPr>
        <p:spPr>
          <a:xfrm>
            <a:off x="584201" y="6456459"/>
            <a:ext cx="11025188" cy="107854"/>
          </a:xfrm>
          <a:prstGeom prst="rect">
            <a:avLst/>
          </a:prstGeom>
        </p:spPr>
        <p:txBody>
          <a:bodyPr/>
          <a:lstStyle>
            <a:lvl1pPr>
              <a:defRPr sz="800">
                <a:solidFill>
                  <a:schemeClr val="bg2">
                    <a:lumMod val="50000"/>
                  </a:schemeClr>
                </a:solidFill>
              </a:defRPr>
            </a:lvl1pPr>
          </a:lstStyle>
          <a:p>
            <a:r>
              <a:rPr lang="en-US"/>
              <a:t>© Microsoft Corporation                                                                                  					   	    	                                     Microsoft 365 </a:t>
            </a:r>
          </a:p>
        </p:txBody>
      </p:sp>
    </p:spTree>
    <p:extLst>
      <p:ext uri="{BB962C8B-B14F-4D97-AF65-F5344CB8AC3E}">
        <p14:creationId xmlns:p14="http://schemas.microsoft.com/office/powerpoint/2010/main" val="183255065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510988"/>
            <a:ext cx="11018520" cy="430887"/>
          </a:xfrm>
        </p:spPr>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05446795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1A1A1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a:extLst>
              <a:ext uri="{FF2B5EF4-FFF2-40B4-BE49-F238E27FC236}">
                <a16:creationId xmlns:a16="http://schemas.microsoft.com/office/drawing/2014/main" id="{2EEC6248-87BC-4D4D-98C3-91E1890DDA1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83297" y="281709"/>
            <a:ext cx="2440148" cy="902854"/>
          </a:xfrm>
          <a:prstGeom prst="rect">
            <a:avLst/>
          </a:prstGeom>
        </p:spPr>
      </p:pic>
    </p:spTree>
    <p:extLst>
      <p:ext uri="{BB962C8B-B14F-4D97-AF65-F5344CB8AC3E}">
        <p14:creationId xmlns:p14="http://schemas.microsoft.com/office/powerpoint/2010/main" val="11399556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584200" y="1599722"/>
            <a:ext cx="3490176" cy="3099393"/>
          </a:xfrm>
          <a:blipFill>
            <a:blip r:embed="rId2"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 name="Title 1"/>
          <p:cNvSpPr>
            <a:spLocks noGrp="1"/>
          </p:cNvSpPr>
          <p:nvPr>
            <p:ph type="title" hasCustomPrompt="1"/>
          </p:nvPr>
        </p:nvSpPr>
        <p:spPr>
          <a:xfrm>
            <a:off x="584200" y="545447"/>
            <a:ext cx="11306469" cy="403137"/>
          </a:xfrm>
        </p:spPr>
        <p:txBody>
          <a:bodyPr wrap="square" lIns="0" tIns="0" rIns="0" bIns="0">
            <a:spAutoFit/>
          </a:bodyPr>
          <a:lstStyle>
            <a:lvl1pPr>
              <a:lnSpc>
                <a:spcPts val="3137"/>
              </a:lnSpc>
              <a:defRPr sz="2800">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584200" y="4927922"/>
            <a:ext cx="3490176" cy="1186064"/>
          </a:xfrm>
        </p:spPr>
        <p:txBody>
          <a:bodyPr lIns="0" tIns="0" rIns="0" bIns="0"/>
          <a:lstStyle>
            <a:lvl1pPr marL="0" indent="0">
              <a:lnSpc>
                <a:spcPts val="1765"/>
              </a:lnSpc>
              <a:spcBef>
                <a:spcPts val="1176"/>
              </a:spcBef>
              <a:buNone/>
              <a:defRPr lang="en-US" sz="1200" b="0" kern="1200" spc="0" baseline="0" dirty="0">
                <a:solidFill>
                  <a:srgbClr val="000000"/>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465305" cy="1182568"/>
          </a:xfrm>
        </p:spPr>
        <p:txBody>
          <a:bodyPr lIns="0" tIns="0" rIns="0" bIns="0"/>
          <a:lstStyle>
            <a:lvl1pPr marL="0" marR="0" indent="0" algn="l" defTabSz="932742" rtl="0" eaLnBrk="1" fontAlgn="auto" latinLnBrk="0" hangingPunct="1">
              <a:lnSpc>
                <a:spcPts val="1765"/>
              </a:lnSpc>
              <a:spcBef>
                <a:spcPts val="1200"/>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3151" y="1599722"/>
            <a:ext cx="3618381" cy="3099393"/>
          </a:xfrm>
          <a:blipFill>
            <a:blip r:embed="rId3"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465305" cy="3099394"/>
          </a:xfrm>
          <a:blipFill>
            <a:blip r:embed="rId4" cstate="print">
              <a:extLst>
                <a:ext uri="{28A0092B-C50C-407E-A947-70E740481C1C}">
                  <a14:useLocalDpi xmlns:a14="http://schemas.microsoft.com/office/drawing/2010/main"/>
                </a:ext>
              </a:extLst>
            </a:blip>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1182568"/>
          </a:xfrm>
        </p:spPr>
        <p:txBody>
          <a:bodyPr lIns="0" tIns="0" rIns="0" bIns="0"/>
          <a:lstStyle>
            <a:lvl1pPr marL="0" marR="0" indent="0" algn="l" defTabSz="932742" rtl="0" eaLnBrk="1" fontAlgn="auto" latinLnBrk="0" hangingPunct="1">
              <a:lnSpc>
                <a:spcPts val="1765"/>
              </a:lnSpc>
              <a:spcBef>
                <a:spcPts val="1200"/>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rgbClr val="000000"/>
                </a:solidFill>
              </a:defRPr>
            </a:lvl1pPr>
          </a:lstStyle>
          <a:p>
            <a:r>
              <a:rPr lang="en-US"/>
              <a:t>© Microsoft Corporation                                                                                  								                      Microsoft 365 </a:t>
            </a:r>
          </a:p>
        </p:txBody>
      </p:sp>
    </p:spTree>
    <p:extLst>
      <p:ext uri="{BB962C8B-B14F-4D97-AF65-F5344CB8AC3E}">
        <p14:creationId xmlns:p14="http://schemas.microsoft.com/office/powerpoint/2010/main" val="364631449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112077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0418580"/>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3077527"/>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2">
          <p15:clr>
            <a:srgbClr val="A4A3A4"/>
          </p15:clr>
        </p15:guide>
        <p15:guide id="28" pos="3840">
          <p15:clr>
            <a:srgbClr val="F26B43"/>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309731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391764"/>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9674834"/>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2" pos="2682">
          <p15:clr>
            <a:srgbClr val="F26B43"/>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2x1-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286097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4937">
          <p15:clr>
            <a:srgbClr val="A4A3A4"/>
          </p15:clr>
        </p15:guide>
        <p15:guide id="21" pos="5120">
          <p15:clr>
            <a:srgbClr val="A4A3A4"/>
          </p15:clr>
        </p15:guide>
        <p15:guide id="23" pos="4998">
          <p15:clr>
            <a:srgbClr val="F26B43"/>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quare-righ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3841326"/>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543">
          <p15:clr>
            <a:srgbClr val="A4A3A4"/>
          </p15:clr>
        </p15:guide>
        <p15:guide id="21" pos="3726">
          <p15:clr>
            <a:srgbClr val="A4A3A4"/>
          </p15:clr>
        </p15:guide>
        <p15:guide id="22" pos="2048">
          <p15:clr>
            <a:srgbClr val="A4A3A4"/>
          </p15:clr>
        </p15:guide>
        <p15:guide id="23" pos="1865">
          <p15:clr>
            <a:srgbClr val="A4A3A4"/>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quare-left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6329150"/>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20" pos="3954">
          <p15:clr>
            <a:srgbClr val="A4A3A4"/>
          </p15:clr>
        </p15:guide>
        <p15:guide id="21" pos="4137">
          <p15:clr>
            <a:srgbClr val="A4A3A4"/>
          </p15:clr>
        </p15:guide>
        <p15:guide id="22" pos="5816">
          <p15:clr>
            <a:srgbClr val="A4A3A4"/>
          </p15:clr>
        </p15:guide>
        <p15:guide id="23" pos="5633">
          <p15:clr>
            <a:srgbClr val="A4A3A4"/>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Vertical 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89904838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Vertical 3-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5774608"/>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7" orient="horz" pos="2880">
          <p15:clr>
            <a:srgbClr val="A4A3A4"/>
          </p15:clr>
        </p15:guide>
        <p15:guide id="8" orient="horz" pos="1622">
          <p15:clr>
            <a:srgbClr val="A4A3A4"/>
          </p15:clr>
        </p15:guide>
        <p15:guide id="9" orient="horz" pos="2696">
          <p15:clr>
            <a:srgbClr val="A4A3A4"/>
          </p15:clr>
        </p15:guide>
        <p15:guide id="10" orient="horz" pos="2758">
          <p15:clr>
            <a:srgbClr val="F26B43"/>
          </p15:clr>
        </p15:guide>
        <p15:guide id="11" orient="horz" pos="1438">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434734F0-570D-0C4E-BF13-EDC3DFEBA7A6}"/>
              </a:ext>
            </a:extLst>
          </p:cNvPr>
          <p:cNvPicPr>
            <a:picLocks noChangeAspect="1"/>
          </p:cNvPicPr>
          <p:nvPr userDrawn="1"/>
        </p:nvPicPr>
        <p:blipFill>
          <a:blip r:embed="rId2"/>
          <a:stretch>
            <a:fillRect/>
          </a:stretch>
        </p:blipFill>
        <p:spPr>
          <a:xfrm>
            <a:off x="865" y="0"/>
            <a:ext cx="12190271" cy="6858000"/>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18642" y="5969230"/>
            <a:ext cx="2092874" cy="448387"/>
          </a:xfrm>
          <a:prstGeom prst="rect">
            <a:avLst/>
          </a:prstGeom>
        </p:spPr>
      </p:pic>
      <p:sp>
        <p:nvSpPr>
          <p:cNvPr id="8" name="Rectangle 9"/>
          <p:cNvSpPr/>
          <p:nvPr userDrawn="1"/>
        </p:nvSpPr>
        <p:spPr bwMode="auto">
          <a:xfrm>
            <a:off x="4904" y="1864"/>
            <a:ext cx="12187096" cy="6856136"/>
          </a:xfrm>
          <a:custGeom>
            <a:avLst/>
            <a:gdLst/>
            <a:ahLst/>
            <a:cxnLst/>
            <a:rect l="l" t="t" r="r" b="b"/>
            <a:pathLst>
              <a:path w="12192000" h="6858000">
                <a:moveTo>
                  <a:pt x="151796" y="142313"/>
                </a:moveTo>
                <a:lnTo>
                  <a:pt x="151796" y="6715694"/>
                </a:lnTo>
                <a:lnTo>
                  <a:pt x="12035481" y="6715694"/>
                </a:lnTo>
                <a:lnTo>
                  <a:pt x="12035481" y="142313"/>
                </a:lnTo>
                <a:close/>
                <a:moveTo>
                  <a:pt x="0" y="0"/>
                </a:moveTo>
                <a:lnTo>
                  <a:pt x="12192000" y="0"/>
                </a:lnTo>
                <a:lnTo>
                  <a:pt x="12192000" y="6858000"/>
                </a:lnTo>
                <a:lnTo>
                  <a:pt x="0" y="685800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7" tIns="143351" rIns="179187" bIns="143351" numCol="1" spcCol="0" rtlCol="0" fromWordArt="0" anchor="t" anchorCtr="0" forceAA="0" compatLnSpc="1">
            <a:prstTxWarp prst="textNoShape">
              <a:avLst/>
            </a:prstTxWarp>
            <a:noAutofit/>
          </a:bodyPr>
          <a:lstStyle/>
          <a:p>
            <a:pPr algn="ctr" defTabSz="913565" fontAlgn="base">
              <a:lnSpc>
                <a:spcPct val="90000"/>
              </a:lnSpc>
              <a:spcBef>
                <a:spcPct val="0"/>
              </a:spcBef>
              <a:spcAft>
                <a:spcPct val="0"/>
              </a:spcAft>
            </a:pPr>
            <a:endParaRPr lang="en-US" sz="2352"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85626455"/>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Vertical 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3485901"/>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9" orient="horz" pos="1125">
          <p15:clr>
            <a:srgbClr val="A4A3A4"/>
          </p15:clr>
        </p15:guide>
        <p15:guide id="10" orient="horz" pos="1263">
          <p15:clr>
            <a:srgbClr val="F26B43"/>
          </p15:clr>
        </p15:guide>
        <p15:guide id="11" orient="horz" pos="1308">
          <p15:clr>
            <a:srgbClr val="A4A3A4"/>
          </p15:clr>
        </p15:guide>
        <p15:guide id="12" orient="horz" pos="3009">
          <p15:clr>
            <a:srgbClr val="A4A3A4"/>
          </p15:clr>
        </p15:guide>
        <p15:guide id="13" orient="horz" pos="3054">
          <p15:clr>
            <a:srgbClr val="F26B43"/>
          </p15:clr>
        </p15:guide>
        <p15:guide id="14" orient="horz" pos="3192">
          <p15:clr>
            <a:srgbClr val="A4A3A4"/>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4x4-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6217998"/>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2160">
          <p15:clr>
            <a:srgbClr val="F26B43"/>
          </p15:clr>
        </p15:guide>
        <p15:guide id="7" orient="horz" pos="2069">
          <p15:clr>
            <a:srgbClr val="A4A3A4"/>
          </p15:clr>
        </p15:guide>
        <p15:guide id="8" orient="horz" pos="2252">
          <p15:clr>
            <a:srgbClr val="A4A3A4"/>
          </p15:clr>
        </p15:guide>
        <p15:guide id="15" pos="3840">
          <p15:clr>
            <a:srgbClr val="F26B43"/>
          </p15:clr>
        </p15:guide>
        <p15:guide id="16" pos="2105">
          <p15:clr>
            <a:srgbClr val="F26B43"/>
          </p15:clr>
        </p15:guide>
        <p15:guide id="17" pos="5575">
          <p15:clr>
            <a:srgbClr val="F26B43"/>
          </p15:clr>
        </p15:guide>
        <p15:guide id="18" pos="5529">
          <p15:clr>
            <a:srgbClr val="A4A3A4"/>
          </p15:clr>
        </p15:guide>
        <p15:guide id="19" pos="2150">
          <p15:clr>
            <a:srgbClr val="A4A3A4"/>
          </p15:clr>
        </p15:guide>
        <p15:guide id="20" pos="1967">
          <p15:clr>
            <a:srgbClr val="A4A3A4"/>
          </p15:clr>
        </p15:guide>
        <p15:guide id="21" pos="5714">
          <p15:clr>
            <a:srgbClr val="A4A3A4"/>
          </p15:clr>
        </p15:guide>
        <p15:guide id="22" pos="3749">
          <p15:clr>
            <a:srgbClr val="A4A3A4"/>
          </p15:clr>
        </p15:guide>
        <p15:guide id="23" pos="3932">
          <p15:clr>
            <a:srgbClr val="A4A3A4"/>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Vertical 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8802143"/>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6" orient="horz" pos="1566">
          <p15:clr>
            <a:srgbClr val="F26B43"/>
          </p15:clr>
        </p15:guide>
        <p15:guide id="8" orient="horz" pos="1622">
          <p15:clr>
            <a:srgbClr val="A4A3A4"/>
          </p15:clr>
        </p15:guide>
        <p15:guide id="11" orient="horz" pos="1438">
          <p15:clr>
            <a:srgbClr val="A4A3A4"/>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Vertical 2x1-column">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4382939"/>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7" orient="horz" pos="2880">
          <p15:clr>
            <a:srgbClr val="A4A3A4"/>
          </p15:clr>
        </p15:guide>
        <p15:guide id="9" orient="horz" pos="2696">
          <p15:clr>
            <a:srgbClr val="A4A3A4"/>
          </p15:clr>
        </p15:guide>
        <p15:guide id="10" orient="horz" pos="2758">
          <p15:clr>
            <a:srgbClr val="F26B43"/>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3A3F93-1598-4328-8168-670AEAF436E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CEA726C-62C7-46AC-B12B-FC4C375DA63B}"/>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248057E-0656-44AE-9FF4-E52C0807F911}" type="datetimeFigureOut">
              <a:rPr kumimoji="0" lang="en-US" sz="1800"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25/2021</a:t>
            </a:fld>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 name="Footer Placeholder 3">
            <a:extLst>
              <a:ext uri="{FF2B5EF4-FFF2-40B4-BE49-F238E27FC236}">
                <a16:creationId xmlns:a16="http://schemas.microsoft.com/office/drawing/2014/main" id="{F25ED668-8770-4FA2-B8D3-303371AA6BF1}"/>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99" b="0" i="0" u="none" strike="noStrike" kern="1200" cap="none" spc="0" normalizeH="0" baseline="0" noProof="0">
              <a:ln>
                <a:noFill/>
              </a:ln>
              <a:solidFill>
                <a:srgbClr val="505050"/>
              </a:solidFill>
              <a:effectLst/>
              <a:uLnTx/>
              <a:uFillTx/>
              <a:latin typeface="Segoe UI"/>
              <a:ea typeface="+mn-ea"/>
              <a:cs typeface="+mn-cs"/>
            </a:endParaRPr>
          </a:p>
        </p:txBody>
      </p:sp>
      <p:sp>
        <p:nvSpPr>
          <p:cNvPr id="5" name="Slide Number Placeholder 4">
            <a:extLst>
              <a:ext uri="{FF2B5EF4-FFF2-40B4-BE49-F238E27FC236}">
                <a16:creationId xmlns:a16="http://schemas.microsoft.com/office/drawing/2014/main" id="{98F5CE8D-C971-48DF-BB80-39325F1F3A3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939BDB-0EE2-42A7-91B0-E4FD31DEB74E}" type="slidenum">
              <a:rPr kumimoji="0" lang="en-US" sz="599"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599"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19013336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ext with 1/3 photography 01">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82BAF37-7987-4D5C-A67C-C0B24BC90D48}"/>
              </a:ext>
            </a:extLst>
          </p:cNvPr>
          <p:cNvSpPr>
            <a:spLocks noGrp="1"/>
          </p:cNvSpPr>
          <p:nvPr>
            <p:ph type="ftr" sz="quarter" idx="10"/>
          </p:nvPr>
        </p:nvSpPr>
        <p:spPr/>
        <p:txBody>
          <a:bodyPr/>
          <a:lstStyle/>
          <a:p>
            <a:r>
              <a:rPr lang="en-US"/>
              <a:t>Storybook title</a:t>
            </a:r>
          </a:p>
        </p:txBody>
      </p:sp>
      <p:sp>
        <p:nvSpPr>
          <p:cNvPr id="4" name="Slide Number Placeholder 3">
            <a:extLst>
              <a:ext uri="{FF2B5EF4-FFF2-40B4-BE49-F238E27FC236}">
                <a16:creationId xmlns:a16="http://schemas.microsoft.com/office/drawing/2014/main" id="{CFB6A8F1-E167-46A2-A4A9-646089FC7965}"/>
              </a:ext>
            </a:extLst>
          </p:cNvPr>
          <p:cNvSpPr>
            <a:spLocks noGrp="1"/>
          </p:cNvSpPr>
          <p:nvPr>
            <p:ph type="sldNum" sz="quarter" idx="11"/>
          </p:nvPr>
        </p:nvSpPr>
        <p:spPr/>
        <p:txBody>
          <a:bodyPr/>
          <a:lstStyle/>
          <a:p>
            <a:fld id="{2EBFA958-3C26-4008-8F63-593230C45B6F}" type="slidenum">
              <a:rPr lang="en-US" smtClean="0"/>
              <a:pPr/>
              <a:t>‹#›</a:t>
            </a:fld>
            <a:endParaRPr lang="en-US"/>
          </a:p>
        </p:txBody>
      </p:sp>
      <p:sp>
        <p:nvSpPr>
          <p:cNvPr id="7" name="Table Placeholder 6">
            <a:extLst>
              <a:ext uri="{FF2B5EF4-FFF2-40B4-BE49-F238E27FC236}">
                <a16:creationId xmlns:a16="http://schemas.microsoft.com/office/drawing/2014/main" id="{0AB39797-E725-4E3F-94F5-A4CC4E20B2E3}"/>
              </a:ext>
            </a:extLst>
          </p:cNvPr>
          <p:cNvSpPr>
            <a:spLocks noGrp="1"/>
          </p:cNvSpPr>
          <p:nvPr>
            <p:ph type="tbl" sz="quarter" idx="12" hasCustomPrompt="1"/>
          </p:nvPr>
        </p:nvSpPr>
        <p:spPr>
          <a:xfrm>
            <a:off x="582613" y="2867025"/>
            <a:ext cx="1974850" cy="1123950"/>
          </a:xfrm>
          <a:prstGeom prst="rect">
            <a:avLst/>
          </a:prstGeom>
        </p:spPr>
        <p:txBody>
          <a:bodyPr lIns="0" tIns="0" rIns="0" bIns="182880" anchor="t">
            <a:noAutofit/>
          </a:bodyPr>
          <a:lstStyle>
            <a:lvl1pPr algn="l">
              <a:defRPr sz="800">
                <a:solidFill>
                  <a:schemeClr val="tx1"/>
                </a:solidFill>
              </a:defRPr>
            </a:lvl1pPr>
          </a:lstStyle>
          <a:p>
            <a:r>
              <a:rPr lang="en-US"/>
              <a:t> </a:t>
            </a:r>
          </a:p>
        </p:txBody>
      </p:sp>
      <p:sp>
        <p:nvSpPr>
          <p:cNvPr id="6" name="Text Placeholder 5">
            <a:extLst>
              <a:ext uri="{FF2B5EF4-FFF2-40B4-BE49-F238E27FC236}">
                <a16:creationId xmlns:a16="http://schemas.microsoft.com/office/drawing/2014/main" id="{A3E8C0CB-FCC8-4D25-AD54-16CE8F3415B9}"/>
              </a:ext>
            </a:extLst>
          </p:cNvPr>
          <p:cNvSpPr>
            <a:spLocks noGrp="1"/>
          </p:cNvSpPr>
          <p:nvPr>
            <p:ph type="body" sz="quarter" idx="14" hasCustomPrompt="1"/>
          </p:nvPr>
        </p:nvSpPr>
        <p:spPr>
          <a:xfrm>
            <a:off x="582613" y="6176707"/>
            <a:ext cx="1974850" cy="92333"/>
          </a:xfrm>
          <a:prstGeom prst="rect">
            <a:avLst/>
          </a:prstGeom>
        </p:spPr>
        <p:txBody>
          <a:bodyPr anchor="b"/>
          <a:lstStyle>
            <a:lvl1pPr>
              <a:spcBef>
                <a:spcPts val="0"/>
              </a:spcBef>
              <a:defRPr sz="600">
                <a:solidFill>
                  <a:schemeClr val="accent3"/>
                </a:solidFill>
              </a:defRPr>
            </a:lvl1pPr>
            <a:lvl2pPr>
              <a:defRPr sz="800">
                <a:solidFill>
                  <a:schemeClr val="accent3"/>
                </a:solidFill>
              </a:defRPr>
            </a:lvl2pPr>
            <a:lvl3pPr>
              <a:defRPr sz="800">
                <a:solidFill>
                  <a:schemeClr val="accent3"/>
                </a:solidFill>
              </a:defRPr>
            </a:lvl3pPr>
            <a:lvl4pPr>
              <a:defRPr sz="800">
                <a:solidFill>
                  <a:schemeClr val="accent3"/>
                </a:solidFill>
              </a:defRPr>
            </a:lvl4pPr>
            <a:lvl5pPr>
              <a:defRPr sz="800">
                <a:solidFill>
                  <a:schemeClr val="accent3"/>
                </a:solidFill>
              </a:defRPr>
            </a:lvl5pPr>
          </a:lstStyle>
          <a:p>
            <a:pPr lvl="0"/>
            <a:r>
              <a:rPr lang="en-US"/>
              <a:t>Citation and resources</a:t>
            </a:r>
          </a:p>
        </p:txBody>
      </p:sp>
      <p:sp>
        <p:nvSpPr>
          <p:cNvPr id="10" name="Title 9">
            <a:extLst>
              <a:ext uri="{FF2B5EF4-FFF2-40B4-BE49-F238E27FC236}">
                <a16:creationId xmlns:a16="http://schemas.microsoft.com/office/drawing/2014/main" id="{BEF5CA4E-1B93-47B6-BB72-23773826640F}"/>
              </a:ext>
            </a:extLst>
          </p:cNvPr>
          <p:cNvSpPr>
            <a:spLocks noGrp="1"/>
          </p:cNvSpPr>
          <p:nvPr>
            <p:ph type="title" hasCustomPrompt="1"/>
          </p:nvPr>
        </p:nvSpPr>
        <p:spPr>
          <a:xfrm>
            <a:off x="582168" y="1155263"/>
            <a:ext cx="1969196" cy="923330"/>
          </a:xfrm>
        </p:spPr>
        <p:txBody>
          <a:bodyPr/>
          <a:lstStyle>
            <a:lvl1pPr>
              <a:defRPr/>
            </a:lvl1pPr>
          </a:lstStyle>
          <a:p>
            <a:r>
              <a:rPr lang="en-US"/>
              <a:t>Text with 1/3 photography layout</a:t>
            </a:r>
          </a:p>
        </p:txBody>
      </p:sp>
      <p:sp>
        <p:nvSpPr>
          <p:cNvPr id="11" name="Text Placeholder 8">
            <a:extLst>
              <a:ext uri="{FF2B5EF4-FFF2-40B4-BE49-F238E27FC236}">
                <a16:creationId xmlns:a16="http://schemas.microsoft.com/office/drawing/2014/main" id="{54AA1298-084B-4D84-94AA-04E4EC20E880}"/>
              </a:ext>
            </a:extLst>
          </p:cNvPr>
          <p:cNvSpPr>
            <a:spLocks noGrp="1"/>
          </p:cNvSpPr>
          <p:nvPr>
            <p:ph type="body" sz="quarter" idx="13" hasCustomPrompt="1"/>
          </p:nvPr>
        </p:nvSpPr>
        <p:spPr>
          <a:xfrm>
            <a:off x="582613" y="587376"/>
            <a:ext cx="1974850" cy="153888"/>
          </a:xfrm>
          <a:prstGeom prst="rect">
            <a:avLst/>
          </a:prstGeom>
        </p:spPr>
        <p:txBody>
          <a:bodyPr/>
          <a:lstStyle>
            <a:lvl1pPr>
              <a:defRPr sz="1000">
                <a:solidFill>
                  <a:schemeClr val="accent1"/>
                </a:solidFill>
                <a:latin typeface="+mj-lt"/>
              </a:defRPr>
            </a:lvl1pPr>
            <a:lvl2pPr>
              <a:defRPr sz="1000">
                <a:solidFill>
                  <a:schemeClr val="accent1"/>
                </a:solidFill>
                <a:latin typeface="+mj-lt"/>
              </a:defRPr>
            </a:lvl2pPr>
            <a:lvl3pPr>
              <a:defRPr sz="1000">
                <a:solidFill>
                  <a:schemeClr val="accent1"/>
                </a:solidFill>
                <a:latin typeface="+mj-lt"/>
              </a:defRPr>
            </a:lvl3pPr>
            <a:lvl4pPr>
              <a:defRPr sz="1000">
                <a:solidFill>
                  <a:schemeClr val="accent1"/>
                </a:solidFill>
                <a:latin typeface="+mj-lt"/>
              </a:defRPr>
            </a:lvl4pPr>
            <a:lvl5pPr>
              <a:defRPr sz="1000">
                <a:solidFill>
                  <a:schemeClr val="accent1"/>
                </a:solidFill>
                <a:latin typeface="+mj-lt"/>
              </a:defRPr>
            </a:lvl5pPr>
          </a:lstStyle>
          <a:p>
            <a:pPr lvl="0"/>
            <a:r>
              <a:rPr lang="en-US"/>
              <a:t>Sub section title</a:t>
            </a:r>
          </a:p>
        </p:txBody>
      </p:sp>
      <p:sp>
        <p:nvSpPr>
          <p:cNvPr id="5" name="Picture Placeholder 4">
            <a:extLst>
              <a:ext uri="{FF2B5EF4-FFF2-40B4-BE49-F238E27FC236}">
                <a16:creationId xmlns:a16="http://schemas.microsoft.com/office/drawing/2014/main" id="{F9869DE4-03B8-4728-A33B-E2A4C69EDF46}"/>
              </a:ext>
            </a:extLst>
          </p:cNvPr>
          <p:cNvSpPr>
            <a:spLocks noGrp="1"/>
          </p:cNvSpPr>
          <p:nvPr>
            <p:ph type="pic" sz="quarter" idx="17" hasCustomPrompt="1"/>
          </p:nvPr>
        </p:nvSpPr>
        <p:spPr>
          <a:xfrm>
            <a:off x="7366000" y="587377"/>
            <a:ext cx="4240213" cy="5683249"/>
          </a:xfrm>
          <a:prstGeom prst="rect">
            <a:avLst/>
          </a:prstGeom>
          <a:solidFill>
            <a:schemeClr val="bg1">
              <a:lumMod val="95000"/>
            </a:schemeClr>
          </a:solidFill>
          <a:effectLst>
            <a:outerShdw blurRad="190500" dist="38100" dir="2700000" algn="tl" rotWithShape="0">
              <a:prstClr val="black">
                <a:alpha val="40000"/>
              </a:prstClr>
            </a:outerShdw>
          </a:effectLst>
        </p:spPr>
        <p:txBody>
          <a:bodyPr>
            <a:noAutofit/>
          </a:bodyPr>
          <a:lstStyle/>
          <a:p>
            <a:r>
              <a:rPr lang="en-US"/>
              <a:t> </a:t>
            </a:r>
          </a:p>
        </p:txBody>
      </p:sp>
      <p:sp>
        <p:nvSpPr>
          <p:cNvPr id="12" name="Text Placeholder 18">
            <a:extLst>
              <a:ext uri="{FF2B5EF4-FFF2-40B4-BE49-F238E27FC236}">
                <a16:creationId xmlns:a16="http://schemas.microsoft.com/office/drawing/2014/main" id="{6382F3A1-407C-48A5-AC6B-8E29C4A7A0D7}"/>
              </a:ext>
            </a:extLst>
          </p:cNvPr>
          <p:cNvSpPr>
            <a:spLocks noGrp="1"/>
          </p:cNvSpPr>
          <p:nvPr>
            <p:ph type="body" sz="quarter" idx="23" hasCustomPrompt="1"/>
          </p:nvPr>
        </p:nvSpPr>
        <p:spPr>
          <a:xfrm>
            <a:off x="3146426" y="1155264"/>
            <a:ext cx="2949575" cy="3693319"/>
          </a:xfrm>
          <a:prstGeom prst="rect">
            <a:avLst/>
          </a:prstGeom>
        </p:spPr>
        <p:txBody>
          <a:bodyPr>
            <a:spAutoFit/>
          </a:bodyPr>
          <a:lstStyle>
            <a:lvl1pPr marL="0" marR="0" indent="0" algn="l" defTabSz="932563" rtl="0" eaLnBrk="1" fontAlgn="auto" latinLnBrk="0" hangingPunct="1">
              <a:lnSpc>
                <a:spcPct val="100000"/>
              </a:lnSpc>
              <a:spcBef>
                <a:spcPts val="400"/>
              </a:spcBef>
              <a:spcAft>
                <a:spcPts val="0"/>
              </a:spcAft>
              <a:buClrTx/>
              <a:buSzPct val="90000"/>
              <a:buFont typeface="Wingdings" panose="05000000000000000000" pitchFamily="2" charset="2"/>
              <a:buNone/>
              <a:tabLst/>
              <a:defRPr sz="1000">
                <a:latin typeface="+mn-lt"/>
              </a:defRPr>
            </a:lvl1pPr>
            <a:lvl2pPr>
              <a:defRPr sz="1000"/>
            </a:lvl2pPr>
            <a:lvl3pPr>
              <a:defRPr sz="1000"/>
            </a:lvl3pPr>
            <a:lvl4pPr>
              <a:defRPr sz="1000"/>
            </a:lvl4pPr>
            <a:lvl5pPr>
              <a:defRPr sz="1000"/>
            </a:lvl5pPr>
          </a:lstStyle>
          <a:p>
            <a:pPr lvl="0"/>
            <a:r>
              <a:rPr lang="en-US"/>
              <a:t>Body copy Segoe Regular 10.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 </a:t>
            </a:r>
            <a:r>
              <a:rPr lang="en-US" err="1"/>
              <a:t>Cavorest</a:t>
            </a:r>
            <a:r>
              <a:rPr lang="en-US"/>
              <a:t> a </a:t>
            </a:r>
            <a:r>
              <a:rPr lang="en-US" err="1"/>
              <a:t>aut</a:t>
            </a:r>
            <a:r>
              <a:rPr lang="en-US"/>
              <a:t> arum </a:t>
            </a:r>
            <a:r>
              <a:rPr lang="en-US" err="1"/>
              <a:t>quam</a:t>
            </a:r>
            <a:r>
              <a:rPr lang="en-US"/>
              <a:t> id eat ape est.</a:t>
            </a:r>
            <a:br>
              <a:rPr lang="en-US"/>
            </a:br>
            <a:br>
              <a:rPr lang="en-US"/>
            </a:br>
            <a:r>
              <a:rPr lang="en-US"/>
              <a:t>Body copy Segoe Regular 10.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 </a:t>
            </a:r>
            <a:r>
              <a:rPr lang="en-US" err="1"/>
              <a:t>Cavorest</a:t>
            </a:r>
            <a:r>
              <a:rPr lang="en-US"/>
              <a:t> a </a:t>
            </a:r>
            <a:r>
              <a:rPr lang="en-US" err="1"/>
              <a:t>aut</a:t>
            </a:r>
            <a:r>
              <a:rPr lang="en-US"/>
              <a:t> arum </a:t>
            </a:r>
            <a:r>
              <a:rPr lang="en-US" err="1"/>
              <a:t>quam</a:t>
            </a:r>
            <a:r>
              <a:rPr lang="en-US"/>
              <a:t> id eat ape est.</a:t>
            </a:r>
            <a:br>
              <a:rPr lang="en-US"/>
            </a:br>
            <a:br>
              <a:rPr lang="en-US"/>
            </a:br>
            <a:r>
              <a:rPr lang="en-US"/>
              <a:t>Body copy Segoe Regular 10.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 </a:t>
            </a:r>
            <a:r>
              <a:rPr lang="en-US" err="1"/>
              <a:t>Cavorest</a:t>
            </a:r>
            <a:r>
              <a:rPr lang="en-US"/>
              <a:t> a </a:t>
            </a:r>
            <a:r>
              <a:rPr lang="en-US" err="1"/>
              <a:t>aut</a:t>
            </a:r>
            <a:r>
              <a:rPr lang="en-US"/>
              <a:t> arum </a:t>
            </a:r>
            <a:r>
              <a:rPr lang="en-US" err="1"/>
              <a:t>quam</a:t>
            </a:r>
            <a:r>
              <a:rPr lang="en-US"/>
              <a:t> id eat ape est.</a:t>
            </a:r>
            <a:br>
              <a:rPr lang="en-US"/>
            </a:br>
            <a:br>
              <a:rPr lang="en-US"/>
            </a:br>
            <a:r>
              <a:rPr lang="en-US"/>
              <a:t>Body copy Segoe Regular 10.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 </a:t>
            </a:r>
            <a:r>
              <a:rPr lang="en-US" err="1"/>
              <a:t>Cavorest</a:t>
            </a:r>
            <a:r>
              <a:rPr lang="en-US"/>
              <a:t> a </a:t>
            </a:r>
            <a:r>
              <a:rPr lang="en-US" err="1"/>
              <a:t>aut</a:t>
            </a:r>
            <a:r>
              <a:rPr lang="en-US"/>
              <a:t> arum </a:t>
            </a:r>
            <a:r>
              <a:rPr lang="en-US" err="1"/>
              <a:t>quam</a:t>
            </a:r>
            <a:r>
              <a:rPr lang="en-US"/>
              <a:t> id eat ape est.</a:t>
            </a:r>
            <a:br>
              <a:rPr lang="en-US"/>
            </a:br>
            <a:br>
              <a:rPr lang="en-US"/>
            </a:br>
            <a:r>
              <a:rPr lang="en-US"/>
              <a:t>Body copy Segoe Regular 10.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 </a:t>
            </a:r>
            <a:r>
              <a:rPr lang="en-US" err="1"/>
              <a:t>Cavorest</a:t>
            </a:r>
            <a:r>
              <a:rPr lang="en-US"/>
              <a:t> a </a:t>
            </a:r>
            <a:r>
              <a:rPr lang="en-US" err="1"/>
              <a:t>aut</a:t>
            </a:r>
            <a:r>
              <a:rPr lang="en-US"/>
              <a:t> arum </a:t>
            </a:r>
            <a:r>
              <a:rPr lang="en-US" err="1"/>
              <a:t>quam</a:t>
            </a:r>
            <a:r>
              <a:rPr lang="en-US"/>
              <a:t> id eat ape est.</a:t>
            </a:r>
          </a:p>
        </p:txBody>
      </p:sp>
      <p:sp>
        <p:nvSpPr>
          <p:cNvPr id="13" name="Text Placeholder 8">
            <a:extLst>
              <a:ext uri="{FF2B5EF4-FFF2-40B4-BE49-F238E27FC236}">
                <a16:creationId xmlns:a16="http://schemas.microsoft.com/office/drawing/2014/main" id="{E0202FC2-21C0-499E-A224-26BE21ED498E}"/>
              </a:ext>
            </a:extLst>
          </p:cNvPr>
          <p:cNvSpPr>
            <a:spLocks noGrp="1"/>
          </p:cNvSpPr>
          <p:nvPr>
            <p:ph type="body" sz="quarter" idx="16" hasCustomPrompt="1"/>
          </p:nvPr>
        </p:nvSpPr>
        <p:spPr>
          <a:xfrm>
            <a:off x="10738654" y="215949"/>
            <a:ext cx="1453347" cy="153888"/>
          </a:xfrm>
          <a:prstGeom prst="rect">
            <a:avLst/>
          </a:prstGeom>
        </p:spPr>
        <p:txBody>
          <a:bodyPr wrap="none" rIns="585216" anchor="ctr"/>
          <a:lstStyle>
            <a:lvl1pPr algn="r">
              <a:defRPr>
                <a:sym typeface="Wingdings" panose="05000000000000000000" pitchFamily="2" charset="2"/>
              </a:defRPr>
            </a:lvl1pPr>
          </a:lstStyle>
          <a:p>
            <a:pPr lvl="0"/>
            <a:r>
              <a:rPr lang="en-US"/>
              <a:t>  Section title</a:t>
            </a:r>
          </a:p>
        </p:txBody>
      </p:sp>
    </p:spTree>
    <p:extLst>
      <p:ext uri="{BB962C8B-B14F-4D97-AF65-F5344CB8AC3E}">
        <p14:creationId xmlns:p14="http://schemas.microsoft.com/office/powerpoint/2010/main" val="1697291491"/>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769492533"/>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192176729"/>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5943425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665692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68228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981307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335859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407062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67416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3064771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144114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0134076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157649437"/>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5918419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1785520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572847"/>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639095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1022969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2494375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411177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878815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1320043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Title Only dark">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42729276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9268" y="291068"/>
            <a:ext cx="6769045" cy="553998"/>
          </a:xfrm>
        </p:spPr>
        <p:txBody>
          <a:bodyPr/>
          <a:lstStyle>
            <a:lvl1pPr>
              <a:defRPr sz="3600"/>
            </a:lvl1pPr>
          </a:lstStyle>
          <a:p>
            <a:r>
              <a:rPr lang="en-US"/>
              <a:t>Click to edit Master title style</a:t>
            </a:r>
          </a:p>
        </p:txBody>
      </p:sp>
      <p:sp>
        <p:nvSpPr>
          <p:cNvPr id="4" name="Text Placeholder 3"/>
          <p:cNvSpPr>
            <a:spLocks noGrp="1"/>
          </p:cNvSpPr>
          <p:nvPr>
            <p:ph type="body" sz="quarter" idx="10"/>
          </p:nvPr>
        </p:nvSpPr>
        <p:spPr>
          <a:xfrm>
            <a:off x="5129267" y="4773828"/>
            <a:ext cx="6769045" cy="1793104"/>
          </a:xfrm>
        </p:spPr>
        <p:txBody>
          <a:bodyPr wrap="square">
            <a:noAutofit/>
          </a:bodyPr>
          <a:lstStyle>
            <a:lvl1pPr marL="0" indent="0">
              <a:spcBef>
                <a:spcPts val="1765"/>
              </a:spcBef>
              <a:buNone/>
              <a:defRPr sz="2000">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828867" cy="6858623"/>
          </a:xfrm>
          <a:prstGeom prst="rect">
            <a:avLst/>
          </a:prstGeom>
        </p:spPr>
      </p:pic>
    </p:spTree>
    <p:extLst>
      <p:ext uri="{BB962C8B-B14F-4D97-AF65-F5344CB8AC3E}">
        <p14:creationId xmlns:p14="http://schemas.microsoft.com/office/powerpoint/2010/main" val="841551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579755796"/>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26390" y="1337262"/>
            <a:ext cx="3274060" cy="834439"/>
          </a:xfrm>
        </p:spPr>
        <p:txBody>
          <a:bodyPr/>
          <a:lstStyle>
            <a:lvl1pPr>
              <a:defRPr sz="5399"/>
            </a:lvl1pPr>
          </a:lstStyle>
          <a:p>
            <a:r>
              <a:rPr lang="en-US"/>
              <a:t>Click</a:t>
            </a:r>
          </a:p>
        </p:txBody>
      </p:sp>
      <p:sp>
        <p:nvSpPr>
          <p:cNvPr id="4" name="Content Placeholder 3">
            <a:extLst>
              <a:ext uri="{FF2B5EF4-FFF2-40B4-BE49-F238E27FC236}">
                <a16:creationId xmlns:a16="http://schemas.microsoft.com/office/drawing/2014/main" id="{77B440C8-F1BD-4B61-9D02-A807C01652C0}"/>
              </a:ext>
            </a:extLst>
          </p:cNvPr>
          <p:cNvSpPr>
            <a:spLocks noGrp="1"/>
          </p:cNvSpPr>
          <p:nvPr>
            <p:ph sz="quarter" idx="10"/>
          </p:nvPr>
        </p:nvSpPr>
        <p:spPr>
          <a:xfrm>
            <a:off x="7086601" y="1336675"/>
            <a:ext cx="3429000" cy="830868"/>
          </a:xfrm>
        </p:spPr>
        <p:txBody>
          <a:bodyPr/>
          <a:lstStyle>
            <a:lvl1pPr marL="0" indent="0">
              <a:buNone/>
              <a:defRPr sz="5399"/>
            </a:lvl1pPr>
          </a:lstStyle>
          <a:p>
            <a:pPr lvl="0"/>
            <a:r>
              <a:rPr lang="en-US"/>
              <a:t>Edit</a:t>
            </a:r>
          </a:p>
        </p:txBody>
      </p:sp>
      <p:sp>
        <p:nvSpPr>
          <p:cNvPr id="6" name="Content Placeholder 5">
            <a:extLst>
              <a:ext uri="{FF2B5EF4-FFF2-40B4-BE49-F238E27FC236}">
                <a16:creationId xmlns:a16="http://schemas.microsoft.com/office/drawing/2014/main" id="{A310F22E-A4A6-4430-8838-C3A5730E7597}"/>
              </a:ext>
            </a:extLst>
          </p:cNvPr>
          <p:cNvSpPr>
            <a:spLocks noGrp="1"/>
          </p:cNvSpPr>
          <p:nvPr>
            <p:ph sz="quarter" idx="11"/>
          </p:nvPr>
        </p:nvSpPr>
        <p:spPr>
          <a:xfrm>
            <a:off x="1314451" y="3162300"/>
            <a:ext cx="1790700" cy="430887"/>
          </a:xfrm>
        </p:spPr>
        <p:txBody>
          <a:bodyPr/>
          <a:lstStyle>
            <a:lvl1pPr marL="0" indent="0">
              <a:buNone/>
              <a:defRPr/>
            </a:lvl1pPr>
          </a:lstStyle>
          <a:p>
            <a:pPr lvl="0"/>
            <a:r>
              <a:rPr lang="en-US"/>
              <a:t>Edit</a:t>
            </a:r>
          </a:p>
        </p:txBody>
      </p:sp>
      <p:sp>
        <p:nvSpPr>
          <p:cNvPr id="8" name="Content Placeholder 7">
            <a:extLst>
              <a:ext uri="{FF2B5EF4-FFF2-40B4-BE49-F238E27FC236}">
                <a16:creationId xmlns:a16="http://schemas.microsoft.com/office/drawing/2014/main" id="{3F172490-4BF3-41A3-9B22-506C72295C8A}"/>
              </a:ext>
            </a:extLst>
          </p:cNvPr>
          <p:cNvSpPr>
            <a:spLocks noGrp="1"/>
          </p:cNvSpPr>
          <p:nvPr>
            <p:ph sz="quarter" idx="12"/>
          </p:nvPr>
        </p:nvSpPr>
        <p:spPr>
          <a:xfrm>
            <a:off x="495301" y="4686300"/>
            <a:ext cx="3352800" cy="677108"/>
          </a:xfrm>
        </p:spPr>
        <p:txBody>
          <a:bodyPr/>
          <a:lstStyle>
            <a:lvl1pPr marL="0" indent="0">
              <a:buNone/>
              <a:defRPr sz="4400"/>
            </a:lvl1pPr>
          </a:lstStyle>
          <a:p>
            <a:pPr lvl="0"/>
            <a:r>
              <a:rPr lang="en-US"/>
              <a:t>Edit</a:t>
            </a:r>
          </a:p>
        </p:txBody>
      </p:sp>
      <p:sp>
        <p:nvSpPr>
          <p:cNvPr id="10" name="Content Placeholder 9">
            <a:extLst>
              <a:ext uri="{FF2B5EF4-FFF2-40B4-BE49-F238E27FC236}">
                <a16:creationId xmlns:a16="http://schemas.microsoft.com/office/drawing/2014/main" id="{BE583AA6-4374-4505-A98B-0E813126C6CB}"/>
              </a:ext>
            </a:extLst>
          </p:cNvPr>
          <p:cNvSpPr>
            <a:spLocks noGrp="1"/>
          </p:cNvSpPr>
          <p:nvPr>
            <p:ph sz="quarter" idx="13"/>
          </p:nvPr>
        </p:nvSpPr>
        <p:spPr>
          <a:xfrm>
            <a:off x="7715251" y="2933700"/>
            <a:ext cx="1924050" cy="430887"/>
          </a:xfrm>
        </p:spPr>
        <p:txBody>
          <a:bodyPr/>
          <a:lstStyle>
            <a:lvl1pPr marL="0" indent="0">
              <a:buNone/>
              <a:defRPr/>
            </a:lvl1pPr>
          </a:lstStyle>
          <a:p>
            <a:pPr lvl="0"/>
            <a:r>
              <a:rPr lang="en-US"/>
              <a:t>Edit</a:t>
            </a:r>
          </a:p>
        </p:txBody>
      </p:sp>
      <p:sp>
        <p:nvSpPr>
          <p:cNvPr id="12" name="Content Placeholder 11">
            <a:extLst>
              <a:ext uri="{FF2B5EF4-FFF2-40B4-BE49-F238E27FC236}">
                <a16:creationId xmlns:a16="http://schemas.microsoft.com/office/drawing/2014/main" id="{7C0CC58F-A9F1-4FCC-8C2B-C094F88B3C81}"/>
              </a:ext>
            </a:extLst>
          </p:cNvPr>
          <p:cNvSpPr>
            <a:spLocks noGrp="1"/>
          </p:cNvSpPr>
          <p:nvPr>
            <p:ph sz="quarter" idx="14"/>
          </p:nvPr>
        </p:nvSpPr>
        <p:spPr>
          <a:xfrm>
            <a:off x="7086601" y="4191000"/>
            <a:ext cx="3562350" cy="677108"/>
          </a:xfrm>
        </p:spPr>
        <p:txBody>
          <a:bodyPr/>
          <a:lstStyle>
            <a:lvl1pPr marL="0" indent="0">
              <a:buNone/>
              <a:defRPr sz="4400"/>
            </a:lvl1pPr>
          </a:lstStyle>
          <a:p>
            <a:pPr lvl="0"/>
            <a:r>
              <a:rPr lang="en-US"/>
              <a:t>Edit Master</a:t>
            </a:r>
          </a:p>
        </p:txBody>
      </p:sp>
      <p:sp>
        <p:nvSpPr>
          <p:cNvPr id="5" name="Content Placeholder 4">
            <a:extLst>
              <a:ext uri="{FF2B5EF4-FFF2-40B4-BE49-F238E27FC236}">
                <a16:creationId xmlns:a16="http://schemas.microsoft.com/office/drawing/2014/main" id="{3E82BACD-02F0-4087-A8CA-108C5192C8BB}"/>
              </a:ext>
            </a:extLst>
          </p:cNvPr>
          <p:cNvSpPr>
            <a:spLocks noGrp="1"/>
          </p:cNvSpPr>
          <p:nvPr>
            <p:ph sz="quarter" idx="15"/>
          </p:nvPr>
        </p:nvSpPr>
        <p:spPr>
          <a:xfrm>
            <a:off x="4008439" y="2667001"/>
            <a:ext cx="1951037" cy="430887"/>
          </a:xfrm>
        </p:spPr>
        <p:txBody>
          <a:bodyPr/>
          <a:lstStyle>
            <a:lvl1pPr marL="0" indent="0">
              <a:buNone/>
              <a:defRPr/>
            </a:lvl1pPr>
          </a:lstStyle>
          <a:p>
            <a:pPr lvl="0"/>
            <a:r>
              <a:rPr lang="en-US"/>
              <a:t>Edit</a:t>
            </a:r>
          </a:p>
        </p:txBody>
      </p:sp>
    </p:spTree>
    <p:extLst>
      <p:ext uri="{BB962C8B-B14F-4D97-AF65-F5344CB8AC3E}">
        <p14:creationId xmlns:p14="http://schemas.microsoft.com/office/powerpoint/2010/main" val="30575265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1878C0"/>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2586583996"/>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4_Blank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B2C6CD-5C3D-4728-96A3-983848231A1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5347122"/>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5_Blank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9EA9E7-470C-479D-92E6-1E74E0A37578}"/>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43F97C61-1A0E-4174-9B8F-68969E090439}"/>
              </a:ext>
            </a:extLst>
          </p:cNvPr>
          <p:cNvSpPr>
            <a:spLocks noGrp="1"/>
          </p:cNvSpPr>
          <p:nvPr>
            <p:ph sz="quarter" idx="10"/>
          </p:nvPr>
        </p:nvSpPr>
        <p:spPr>
          <a:xfrm>
            <a:off x="360363" y="4330701"/>
            <a:ext cx="4019550" cy="430887"/>
          </a:xfrm>
        </p:spPr>
        <p:txBody>
          <a:bodyPr/>
          <a:lstStyle>
            <a:lvl1pPr marL="0" indent="0">
              <a:buNone/>
              <a:defRPr/>
            </a:lvl1pPr>
          </a:lstStyle>
          <a:p>
            <a:pPr lvl="0"/>
            <a:r>
              <a:rPr lang="en-US"/>
              <a:t>Edit Master</a:t>
            </a:r>
          </a:p>
        </p:txBody>
      </p:sp>
      <p:sp>
        <p:nvSpPr>
          <p:cNvPr id="6" name="Content Placeholder 5">
            <a:extLst>
              <a:ext uri="{FF2B5EF4-FFF2-40B4-BE49-F238E27FC236}">
                <a16:creationId xmlns:a16="http://schemas.microsoft.com/office/drawing/2014/main" id="{62FCD8EF-BEBC-4E1B-BAAE-2C98507BA09B}"/>
              </a:ext>
            </a:extLst>
          </p:cNvPr>
          <p:cNvSpPr>
            <a:spLocks noGrp="1"/>
          </p:cNvSpPr>
          <p:nvPr>
            <p:ph sz="quarter" idx="11"/>
          </p:nvPr>
        </p:nvSpPr>
        <p:spPr>
          <a:xfrm>
            <a:off x="4643439" y="4330701"/>
            <a:ext cx="2647950" cy="430887"/>
          </a:xfrm>
        </p:spPr>
        <p:txBody>
          <a:bodyPr/>
          <a:lstStyle>
            <a:lvl1pPr marL="0" indent="0">
              <a:buNone/>
              <a:defRPr/>
            </a:lvl1pPr>
          </a:lstStyle>
          <a:p>
            <a:pPr lvl="0"/>
            <a:r>
              <a:rPr lang="en-US"/>
              <a:t>Edit</a:t>
            </a:r>
          </a:p>
        </p:txBody>
      </p:sp>
      <p:sp>
        <p:nvSpPr>
          <p:cNvPr id="8" name="Content Placeholder 7">
            <a:extLst>
              <a:ext uri="{FF2B5EF4-FFF2-40B4-BE49-F238E27FC236}">
                <a16:creationId xmlns:a16="http://schemas.microsoft.com/office/drawing/2014/main" id="{267BD8A1-8B86-4D8F-8F2F-164BCDAD6B64}"/>
              </a:ext>
            </a:extLst>
          </p:cNvPr>
          <p:cNvSpPr>
            <a:spLocks noGrp="1"/>
          </p:cNvSpPr>
          <p:nvPr>
            <p:ph sz="quarter" idx="12"/>
          </p:nvPr>
        </p:nvSpPr>
        <p:spPr>
          <a:xfrm>
            <a:off x="7700963" y="4330701"/>
            <a:ext cx="3897312" cy="430887"/>
          </a:xfrm>
        </p:spPr>
        <p:txBody>
          <a:bodyPr/>
          <a:lstStyle>
            <a:lvl1pPr marL="0" indent="0">
              <a:buNone/>
              <a:defRPr/>
            </a:lvl1pPr>
          </a:lstStyle>
          <a:p>
            <a:pPr lvl="0"/>
            <a:r>
              <a:rPr lang="en-US"/>
              <a:t>Edit Master</a:t>
            </a:r>
          </a:p>
        </p:txBody>
      </p:sp>
      <p:sp>
        <p:nvSpPr>
          <p:cNvPr id="5" name="Content Placeholder 4">
            <a:extLst>
              <a:ext uri="{FF2B5EF4-FFF2-40B4-BE49-F238E27FC236}">
                <a16:creationId xmlns:a16="http://schemas.microsoft.com/office/drawing/2014/main" id="{D76A175E-35D4-4C84-BF2C-D6229A04E380}"/>
              </a:ext>
            </a:extLst>
          </p:cNvPr>
          <p:cNvSpPr>
            <a:spLocks noGrp="1"/>
          </p:cNvSpPr>
          <p:nvPr>
            <p:ph sz="quarter" idx="13"/>
          </p:nvPr>
        </p:nvSpPr>
        <p:spPr>
          <a:xfrm>
            <a:off x="3167063" y="2220913"/>
            <a:ext cx="7315200" cy="430887"/>
          </a:xfrm>
        </p:spPr>
        <p:txBody>
          <a:bodyPr/>
          <a:lstStyle>
            <a:lvl1pPr marL="0" indent="0">
              <a:buNone/>
              <a:defRPr/>
            </a:lvl1pPr>
          </a:lstStyle>
          <a:p>
            <a:pPr lvl="0"/>
            <a:r>
              <a:rPr lang="en-US"/>
              <a:t>Edit Master text</a:t>
            </a:r>
          </a:p>
        </p:txBody>
      </p:sp>
    </p:spTree>
    <p:extLst>
      <p:ext uri="{BB962C8B-B14F-4D97-AF65-F5344CB8AC3E}">
        <p14:creationId xmlns:p14="http://schemas.microsoft.com/office/powerpoint/2010/main" val="3775971380"/>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3_Blank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0A6B84-1A2B-464F-AD20-340B5127CA9A}"/>
              </a:ext>
            </a:extLst>
          </p:cNvPr>
          <p:cNvSpPr>
            <a:spLocks noGrp="1"/>
          </p:cNvSpPr>
          <p:nvPr>
            <p:ph type="title"/>
          </p:nvPr>
        </p:nvSpPr>
        <p:spPr>
          <a:xfrm>
            <a:off x="341429" y="3754607"/>
            <a:ext cx="4880276" cy="677108"/>
          </a:xfrm>
        </p:spPr>
        <p:txBody>
          <a:bodyPr/>
          <a:lstStyle>
            <a:lvl1pPr>
              <a:defRPr sz="4400"/>
            </a:lvl1pPr>
          </a:lstStyle>
          <a:p>
            <a:r>
              <a:rPr lang="en-US"/>
              <a:t>Click to edit</a:t>
            </a:r>
          </a:p>
        </p:txBody>
      </p:sp>
    </p:spTree>
    <p:extLst>
      <p:ext uri="{BB962C8B-B14F-4D97-AF65-F5344CB8AC3E}">
        <p14:creationId xmlns:p14="http://schemas.microsoft.com/office/powerpoint/2010/main" val="3111637927"/>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2_50/50 Photo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35A241-292F-44F2-8662-BDD64149F119}"/>
              </a:ext>
            </a:extLst>
          </p:cNvPr>
          <p:cNvSpPr>
            <a:spLocks noGrp="1"/>
          </p:cNvSpPr>
          <p:nvPr>
            <p:ph type="title"/>
          </p:nvPr>
        </p:nvSpPr>
        <p:spPr>
          <a:xfrm>
            <a:off x="172988" y="1901744"/>
            <a:ext cx="6011244" cy="677108"/>
          </a:xfrm>
        </p:spPr>
        <p:txBody>
          <a:bodyPr/>
          <a:lstStyle>
            <a:lvl1pPr>
              <a:defRPr sz="4400"/>
            </a:lvl1pPr>
          </a:lstStyle>
          <a:p>
            <a:r>
              <a:rPr lang="en-US"/>
              <a:t>Click to edit Master</a:t>
            </a:r>
          </a:p>
        </p:txBody>
      </p:sp>
    </p:spTree>
    <p:extLst>
      <p:ext uri="{BB962C8B-B14F-4D97-AF65-F5344CB8AC3E}">
        <p14:creationId xmlns:p14="http://schemas.microsoft.com/office/powerpoint/2010/main" val="3090865206"/>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1_Blank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EC25F1-B0F0-4A53-A4A3-237320C73A19}"/>
              </a:ext>
            </a:extLst>
          </p:cNvPr>
          <p:cNvSpPr>
            <a:spLocks noGrp="1"/>
          </p:cNvSpPr>
          <p:nvPr>
            <p:ph type="title"/>
          </p:nvPr>
        </p:nvSpPr>
        <p:spPr/>
        <p:txBody>
          <a:bodyPr/>
          <a:lstStyle>
            <a:lvl1pPr algn="ctr">
              <a:defRPr sz="5400"/>
            </a:lvl1pPr>
          </a:lstStyle>
          <a:p>
            <a:r>
              <a:rPr lang="en-US"/>
              <a:t>Click to edit Master title style</a:t>
            </a:r>
          </a:p>
        </p:txBody>
      </p:sp>
      <p:sp>
        <p:nvSpPr>
          <p:cNvPr id="4" name="Content Placeholder 3">
            <a:extLst>
              <a:ext uri="{FF2B5EF4-FFF2-40B4-BE49-F238E27FC236}">
                <a16:creationId xmlns:a16="http://schemas.microsoft.com/office/drawing/2014/main" id="{EC3C21CD-C154-49D9-99A3-545CA1BD9C76}"/>
              </a:ext>
            </a:extLst>
          </p:cNvPr>
          <p:cNvSpPr>
            <a:spLocks noGrp="1"/>
          </p:cNvSpPr>
          <p:nvPr>
            <p:ph sz="quarter" idx="10"/>
          </p:nvPr>
        </p:nvSpPr>
        <p:spPr>
          <a:xfrm>
            <a:off x="1409700" y="2533650"/>
            <a:ext cx="8248650" cy="794064"/>
          </a:xfrm>
        </p:spPr>
        <p:txBody>
          <a:bodyPr/>
          <a:lstStyle>
            <a:lvl1pPr marL="0" indent="0" algn="ctr">
              <a:buNone/>
              <a:defRPr sz="4400"/>
            </a:lvl1pPr>
          </a:lstStyle>
          <a:p>
            <a:pPr lvl="0"/>
            <a:r>
              <a:rPr lang="en-US"/>
              <a:t>Edit Master text</a:t>
            </a:r>
          </a:p>
        </p:txBody>
      </p:sp>
      <p:sp>
        <p:nvSpPr>
          <p:cNvPr id="5" name="Content Placeholder 4">
            <a:extLst>
              <a:ext uri="{FF2B5EF4-FFF2-40B4-BE49-F238E27FC236}">
                <a16:creationId xmlns:a16="http://schemas.microsoft.com/office/drawing/2014/main" id="{2C5510C7-2ACA-40ED-BEC0-BE055E1C53D6}"/>
              </a:ext>
            </a:extLst>
          </p:cNvPr>
          <p:cNvSpPr>
            <a:spLocks noGrp="1"/>
          </p:cNvSpPr>
          <p:nvPr>
            <p:ph sz="quarter" idx="11"/>
          </p:nvPr>
        </p:nvSpPr>
        <p:spPr>
          <a:xfrm>
            <a:off x="895350" y="5581650"/>
            <a:ext cx="7924800" cy="727700"/>
          </a:xfrm>
        </p:spPr>
        <p:txBody>
          <a:bodyPr/>
          <a:lstStyle>
            <a:lvl1pPr marL="0" indent="0">
              <a:buNone/>
              <a:defRPr/>
            </a:lvl1pPr>
          </a:lstStyle>
          <a:p>
            <a:pPr lvl="0"/>
            <a:r>
              <a:rPr lang="en-US"/>
              <a:t>Edit Master text</a:t>
            </a:r>
          </a:p>
        </p:txBody>
      </p:sp>
      <p:sp>
        <p:nvSpPr>
          <p:cNvPr id="6" name="Content Placeholder 5">
            <a:extLst>
              <a:ext uri="{FF2B5EF4-FFF2-40B4-BE49-F238E27FC236}">
                <a16:creationId xmlns:a16="http://schemas.microsoft.com/office/drawing/2014/main" id="{3C9C118B-823A-45B3-A387-3231C70DD382}"/>
              </a:ext>
            </a:extLst>
          </p:cNvPr>
          <p:cNvSpPr>
            <a:spLocks noGrp="1"/>
          </p:cNvSpPr>
          <p:nvPr>
            <p:ph sz="quarter" idx="12"/>
          </p:nvPr>
        </p:nvSpPr>
        <p:spPr>
          <a:xfrm>
            <a:off x="3505200" y="3790950"/>
            <a:ext cx="4895850" cy="727700"/>
          </a:xfrm>
        </p:spPr>
        <p:txBody>
          <a:bodyPr/>
          <a:lstStyle>
            <a:lvl1pPr marL="0" indent="0">
              <a:buNone/>
              <a:defRPr/>
            </a:lvl1pPr>
          </a:lstStyle>
          <a:p>
            <a:pPr lvl="0"/>
            <a:r>
              <a:rPr lang="en-US"/>
              <a:t>Edit Master text</a:t>
            </a:r>
          </a:p>
        </p:txBody>
      </p:sp>
    </p:spTree>
    <p:extLst>
      <p:ext uri="{BB962C8B-B14F-4D97-AF65-F5344CB8AC3E}">
        <p14:creationId xmlns:p14="http://schemas.microsoft.com/office/powerpoint/2010/main" val="1906206331"/>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2_Blank slid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B16A13F-E15E-4491-AE9D-4566EB8391BD}"/>
              </a:ext>
            </a:extLst>
          </p:cNvPr>
          <p:cNvSpPr>
            <a:spLocks noGrp="1"/>
          </p:cNvSpPr>
          <p:nvPr>
            <p:ph sz="quarter" idx="10"/>
          </p:nvPr>
        </p:nvSpPr>
        <p:spPr>
          <a:xfrm>
            <a:off x="228600" y="5295900"/>
            <a:ext cx="3124200" cy="794064"/>
          </a:xfrm>
        </p:spPr>
        <p:txBody>
          <a:bodyPr/>
          <a:lstStyle>
            <a:lvl1pPr marL="0" indent="0">
              <a:buNone/>
              <a:defRPr sz="4400"/>
            </a:lvl1pPr>
          </a:lstStyle>
          <a:p>
            <a:pPr lvl="0"/>
            <a:r>
              <a:rPr lang="en-US"/>
              <a:t>Edit</a:t>
            </a:r>
          </a:p>
        </p:txBody>
      </p:sp>
      <p:sp>
        <p:nvSpPr>
          <p:cNvPr id="5" name="Content Placeholder 4">
            <a:extLst>
              <a:ext uri="{FF2B5EF4-FFF2-40B4-BE49-F238E27FC236}">
                <a16:creationId xmlns:a16="http://schemas.microsoft.com/office/drawing/2014/main" id="{CBBC62FA-4BEA-4FF3-A2B3-1DA8658977FF}"/>
              </a:ext>
            </a:extLst>
          </p:cNvPr>
          <p:cNvSpPr>
            <a:spLocks noGrp="1"/>
          </p:cNvSpPr>
          <p:nvPr>
            <p:ph sz="quarter" idx="11"/>
          </p:nvPr>
        </p:nvSpPr>
        <p:spPr>
          <a:xfrm>
            <a:off x="4038600" y="5295900"/>
            <a:ext cx="3314700" cy="794064"/>
          </a:xfrm>
        </p:spPr>
        <p:txBody>
          <a:bodyPr/>
          <a:lstStyle>
            <a:lvl1pPr marL="0" indent="0">
              <a:buNone/>
              <a:defRPr sz="4400"/>
            </a:lvl1pPr>
          </a:lstStyle>
          <a:p>
            <a:pPr lvl="0"/>
            <a:r>
              <a:rPr lang="en-US"/>
              <a:t>Edit</a:t>
            </a:r>
          </a:p>
        </p:txBody>
      </p:sp>
      <p:sp>
        <p:nvSpPr>
          <p:cNvPr id="7" name="Content Placeholder 6">
            <a:extLst>
              <a:ext uri="{FF2B5EF4-FFF2-40B4-BE49-F238E27FC236}">
                <a16:creationId xmlns:a16="http://schemas.microsoft.com/office/drawing/2014/main" id="{7D694411-F8AF-48D1-9759-FAE44F33671B}"/>
              </a:ext>
            </a:extLst>
          </p:cNvPr>
          <p:cNvSpPr>
            <a:spLocks noGrp="1"/>
          </p:cNvSpPr>
          <p:nvPr>
            <p:ph sz="quarter" idx="12"/>
          </p:nvPr>
        </p:nvSpPr>
        <p:spPr>
          <a:xfrm>
            <a:off x="8039100" y="5295900"/>
            <a:ext cx="3352800" cy="794064"/>
          </a:xfrm>
        </p:spPr>
        <p:txBody>
          <a:bodyPr/>
          <a:lstStyle>
            <a:lvl1pPr marL="0" indent="0">
              <a:buNone/>
              <a:defRPr sz="4400"/>
            </a:lvl1pPr>
          </a:lstStyle>
          <a:p>
            <a:pPr lvl="0"/>
            <a:r>
              <a:rPr lang="en-US"/>
              <a:t>Edit</a:t>
            </a:r>
          </a:p>
        </p:txBody>
      </p:sp>
      <p:sp>
        <p:nvSpPr>
          <p:cNvPr id="2" name="Title 1">
            <a:extLst>
              <a:ext uri="{FF2B5EF4-FFF2-40B4-BE49-F238E27FC236}">
                <a16:creationId xmlns:a16="http://schemas.microsoft.com/office/drawing/2014/main" id="{D0DDB638-27E6-4E85-86DC-ABFBBF0ACB7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21790214"/>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5C402D7-C880-4E53-8DA0-EDA4DB2F1010}"/>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EF8883B9-E80E-499C-90AE-76E4031C6FE0}"/>
              </a:ext>
            </a:extLst>
          </p:cNvPr>
          <p:cNvSpPr/>
          <p:nvPr userDrawn="1"/>
        </p:nvSpPr>
        <p:spPr bwMode="auto">
          <a:xfrm>
            <a:off x="0" y="0"/>
            <a:ext cx="5334000" cy="68580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30834344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2D96457C-1416-400D-9400-BB41A4DB324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2786356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Graphic 5" descr="An illustrated graphic showing a globe and a diverse set of people">
            <a:extLst>
              <a:ext uri="{FF2B5EF4-FFF2-40B4-BE49-F238E27FC236}">
                <a16:creationId xmlns:a16="http://schemas.microsoft.com/office/drawing/2014/main" id="{EB7A8DFB-D187-4723-8C8A-259D057A7DE1}"/>
              </a:ext>
              <a:ext uri="{C183D7F6-B498-43B3-948B-1728B52AA6E4}">
                <adec:decorative xmlns:adec="http://schemas.microsoft.com/office/drawing/2017/decorative" val="0"/>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85691" y="0"/>
            <a:ext cx="5414818" cy="6895896"/>
          </a:xfrm>
          <a:prstGeom prst="rect">
            <a:avLst/>
          </a:prstGeom>
        </p:spPr>
      </p:pic>
    </p:spTree>
    <p:extLst>
      <p:ext uri="{BB962C8B-B14F-4D97-AF65-F5344CB8AC3E}">
        <p14:creationId xmlns:p14="http://schemas.microsoft.com/office/powerpoint/2010/main" val="15824948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4617206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36813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1997546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049059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833345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98326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55202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19717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pic>
        <p:nvPicPr>
          <p:cNvPr id="3" name="Picture 2" descr="A group of people sitting at a desk in front of a computer">
            <a:extLst>
              <a:ext uri="{FF2B5EF4-FFF2-40B4-BE49-F238E27FC236}">
                <a16:creationId xmlns:a16="http://schemas.microsoft.com/office/drawing/2014/main" id="{127C6E10-D234-49A1-8C4A-CC77EC94F858}"/>
              </a:ext>
            </a:extLst>
          </p:cNvPr>
          <p:cNvPicPr>
            <a:picLocks noChangeAspect="1"/>
          </p:cNvPicPr>
          <p:nvPr userDrawn="1"/>
        </p:nvPicPr>
        <p:blipFill rotWithShape="1">
          <a:blip r:embed="rId2"/>
          <a:srcRect l="20042" r="25757"/>
          <a:stretch/>
        </p:blipFill>
        <p:spPr>
          <a:xfrm>
            <a:off x="0" y="0"/>
            <a:ext cx="5718628" cy="6858000"/>
          </a:xfrm>
          <a:prstGeom prst="rect">
            <a:avLst/>
          </a:prstGeom>
        </p:spPr>
      </p:pic>
      <p:sp>
        <p:nvSpPr>
          <p:cNvPr id="4" name="Rectangle 3">
            <a:extLst>
              <a:ext uri="{FF2B5EF4-FFF2-40B4-BE49-F238E27FC236}">
                <a16:creationId xmlns:a16="http://schemas.microsoft.com/office/drawing/2014/main" id="{2E3D3B4D-64DC-43F4-BC7B-70508A4A44D2}"/>
              </a:ext>
              <a:ext uri="{C183D7F6-B498-43B3-948B-1728B52AA6E4}">
                <adec:decorative xmlns:adec="http://schemas.microsoft.com/office/drawing/2017/decorative" val="1"/>
              </a:ext>
            </a:extLst>
          </p:cNvPr>
          <p:cNvSpPr/>
          <p:nvPr userDrawn="1"/>
        </p:nvSpPr>
        <p:spPr bwMode="auto">
          <a:xfrm>
            <a:off x="0" y="0"/>
            <a:ext cx="5718628" cy="6858000"/>
          </a:xfrm>
          <a:prstGeom prst="rect">
            <a:avLst/>
          </a:prstGeom>
          <a:gradFill flip="none" rotWithShape="1">
            <a:gsLst>
              <a:gs pos="85000">
                <a:schemeClr val="bg1">
                  <a:alpha val="0"/>
                </a:schemeClr>
              </a:gs>
              <a:gs pos="94000">
                <a:schemeClr val="tx1">
                  <a:alpha val="23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5130365"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4616758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05561753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Tree>
    <p:extLst>
      <p:ext uri="{BB962C8B-B14F-4D97-AF65-F5344CB8AC3E}">
        <p14:creationId xmlns:p14="http://schemas.microsoft.com/office/powerpoint/2010/main" val="332281156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Tree>
    <p:extLst>
      <p:ext uri="{BB962C8B-B14F-4D97-AF65-F5344CB8AC3E}">
        <p14:creationId xmlns:p14="http://schemas.microsoft.com/office/powerpoint/2010/main" val="55578914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2513242"/>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267881919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34369856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317904898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252679396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274732519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289665835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1168395646"/>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612244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254316863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317356135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 White">
    <p:spTree>
      <p:nvGrpSpPr>
        <p:cNvPr id="1" name=""/>
        <p:cNvGrpSpPr/>
        <p:nvPr/>
      </p:nvGrpSpPr>
      <p:grpSpPr>
        <a:xfrm>
          <a:off x="0" y="0"/>
          <a:ext cx="0" cy="0"/>
          <a:chOff x="0" y="0"/>
          <a:chExt cx="0" cy="0"/>
        </a:xfrm>
      </p:grpSpPr>
      <p:sp>
        <p:nvSpPr>
          <p:cNvPr id="2" name="Title 1"/>
          <p:cNvSpPr>
            <a:spLocks noGrp="1"/>
          </p:cNvSpPr>
          <p:nvPr>
            <p:ph type="title"/>
          </p:nvPr>
        </p:nvSpPr>
        <p:spPr>
          <a:xfrm>
            <a:off x="528000" y="528000"/>
            <a:ext cx="11074400" cy="838200"/>
          </a:xfrm>
          <a:prstGeom prst="rect">
            <a:avLst/>
          </a:prstGeom>
        </p:spPr>
        <p:txBody>
          <a:bodyPr lIns="0"/>
          <a:lstStyle>
            <a:lvl1pPr>
              <a:lnSpc>
                <a:spcPct val="80000"/>
              </a:lnSpc>
              <a:defRPr b="0" i="0">
                <a:solidFill>
                  <a:schemeClr val="accent2"/>
                </a:solidFill>
                <a:latin typeface="Segoe UI Semilight" charset="0"/>
                <a:ea typeface="Segoe UI Semilight" charset="0"/>
                <a:cs typeface="Segoe UI Semilight" charset="0"/>
              </a:defRPr>
            </a:lvl1pPr>
          </a:lstStyle>
          <a:p>
            <a:r>
              <a:rPr lang="en-US"/>
              <a:t>Click to edit Master title style</a:t>
            </a:r>
          </a:p>
        </p:txBody>
      </p:sp>
    </p:spTree>
    <p:extLst>
      <p:ext uri="{BB962C8B-B14F-4D97-AF65-F5344CB8AC3E}">
        <p14:creationId xmlns:p14="http://schemas.microsoft.com/office/powerpoint/2010/main" val="1262491998"/>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Tree>
    <p:extLst>
      <p:ext uri="{BB962C8B-B14F-4D97-AF65-F5344CB8AC3E}">
        <p14:creationId xmlns:p14="http://schemas.microsoft.com/office/powerpoint/2010/main" val="121657041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4603671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3169121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17DBA3A-69FE-46A8-926E-18B40F127D1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217DBA3A-69FE-46A8-926E-18B40F127D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C328BB1-2DC0-4A07-91DF-E9F4FCB71C41}"/>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36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p:cNvSpPr>
            <a:spLocks noGrp="1"/>
          </p:cNvSpPr>
          <p:nvPr>
            <p:ph type="title" hasCustomPrompt="1"/>
          </p:nvPr>
        </p:nvSpPr>
        <p:spPr>
          <a:xfrm>
            <a:off x="584200" y="3035808"/>
            <a:ext cx="8757666"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047559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Section Title">
    <p:bg>
      <p:bgRef idx="1001">
        <a:schemeClr val="bg2"/>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17DBA3A-69FE-46A8-926E-18B40F127D16}"/>
              </a:ext>
            </a:extLst>
          </p:cNvPr>
          <p:cNvGraphicFramePr>
            <a:graphicFrameLocks noChangeAspect="1"/>
          </p:cNvGraphicFramePr>
          <p:nvPr userDrawn="1">
            <p:custDataLst>
              <p:tags r:id="rId1"/>
            </p:custDataLst>
            <p:extLst>
              <p:ext uri="{D42A27DB-BD31-4B8C-83A1-F6EECF244321}">
                <p14:modId xmlns:p14="http://schemas.microsoft.com/office/powerpoint/2010/main" val="1180533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217DBA3A-69FE-46A8-926E-18B40F127D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C328BB1-2DC0-4A07-91DF-E9F4FCB71C41}"/>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36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p:cNvSpPr>
            <a:spLocks noGrp="1"/>
          </p:cNvSpPr>
          <p:nvPr>
            <p:ph type="title" hasCustomPrompt="1"/>
          </p:nvPr>
        </p:nvSpPr>
        <p:spPr>
          <a:xfrm>
            <a:off x="584200" y="3035808"/>
            <a:ext cx="8757666"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575371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07297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07177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63531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94366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3214511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50763130"/>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E618E3-2DF8-4D1E-85C0-96027C61162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D950CFF5-48D3-4A1F-8435-962D3141D06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12E4197C-056D-466D-997E-0C0BFFF4790A}"/>
              </a:ext>
            </a:extLst>
          </p:cNvPr>
          <p:cNvSpPr>
            <a:spLocks noGrp="1"/>
          </p:cNvSpPr>
          <p:nvPr>
            <p:ph type="dt" sz="half" idx="10"/>
          </p:nvPr>
        </p:nvSpPr>
        <p:spPr/>
        <p:txBody>
          <a:bodyPr/>
          <a:lstStyle/>
          <a:p>
            <a:fld id="{F57533FA-4E36-41A4-900E-A86322AE6242}" type="datetimeFigureOut">
              <a:rPr lang="en-GB" smtClean="0"/>
              <a:t>25/05/2021</a:t>
            </a:fld>
            <a:endParaRPr lang="en-GB"/>
          </a:p>
        </p:txBody>
      </p:sp>
      <p:sp>
        <p:nvSpPr>
          <p:cNvPr id="5" name="Footer Placeholder 4">
            <a:extLst>
              <a:ext uri="{FF2B5EF4-FFF2-40B4-BE49-F238E27FC236}">
                <a16:creationId xmlns:a16="http://schemas.microsoft.com/office/drawing/2014/main" id="{419B2072-2266-47CC-A3E4-9E79EA91245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59555F-25FC-4B42-B72D-7300C0139C32}"/>
              </a:ext>
            </a:extLst>
          </p:cNvPr>
          <p:cNvSpPr>
            <a:spLocks noGrp="1"/>
          </p:cNvSpPr>
          <p:nvPr>
            <p:ph type="sldNum" sz="quarter" idx="12"/>
          </p:nvPr>
        </p:nvSpPr>
        <p:spPr/>
        <p:txBody>
          <a:bodyPr/>
          <a:lstStyle/>
          <a:p>
            <a:fld id="{9518AE20-329B-43EC-AEEE-651E0F6C168C}" type="slidenum">
              <a:rPr lang="en-GB" smtClean="0"/>
              <a:t>‹#›</a:t>
            </a:fld>
            <a:endParaRPr lang="en-GB"/>
          </a:p>
        </p:txBody>
      </p:sp>
    </p:spTree>
    <p:extLst>
      <p:ext uri="{BB962C8B-B14F-4D97-AF65-F5344CB8AC3E}">
        <p14:creationId xmlns:p14="http://schemas.microsoft.com/office/powerpoint/2010/main" val="235220490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1172321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3322560"/>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isability in the Modern Wor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9467723-1F79-4942-A4DE-7A958DBECAE8}"/>
              </a:ext>
              <a:ext uri="{C183D7F6-B498-43B3-948B-1728B52AA6E4}">
                <adec:decorative xmlns:adec="http://schemas.microsoft.com/office/drawing/2017/decorative" val="1"/>
              </a:ext>
            </a:extLst>
          </p:cNvPr>
          <p:cNvPicPr>
            <a:picLocks noChangeAspect="1"/>
          </p:cNvPicPr>
          <p:nvPr userDrawn="1"/>
        </p:nvPicPr>
        <p:blipFill rotWithShape="1">
          <a:blip r:embed="rId2"/>
          <a:srcRect l="-29" t="100" r="29" b="15186"/>
          <a:stretch/>
        </p:blipFill>
        <p:spPr>
          <a:xfrm>
            <a:off x="0" y="0"/>
            <a:ext cx="12190270" cy="6882978"/>
          </a:xfrm>
          <a:prstGeom prst="rect">
            <a:avLst/>
          </a:prstGeom>
        </p:spPr>
      </p:pic>
      <p:sp>
        <p:nvSpPr>
          <p:cNvPr id="3" name="Rectangle 2">
            <a:extLst>
              <a:ext uri="{FF2B5EF4-FFF2-40B4-BE49-F238E27FC236}">
                <a16:creationId xmlns:a16="http://schemas.microsoft.com/office/drawing/2014/main" id="{B15421F1-5462-4A8A-8F6A-BEFC3E8471AC}"/>
              </a:ext>
              <a:ext uri="{C183D7F6-B498-43B3-948B-1728B52AA6E4}">
                <adec:decorative xmlns:adec="http://schemas.microsoft.com/office/drawing/2017/decorative" val="1"/>
              </a:ext>
            </a:extLst>
          </p:cNvPr>
          <p:cNvSpPr/>
          <p:nvPr userDrawn="1"/>
        </p:nvSpPr>
        <p:spPr bwMode="auto">
          <a:xfrm>
            <a:off x="-2094" y="0"/>
            <a:ext cx="12190272" cy="6882978"/>
          </a:xfrm>
          <a:prstGeom prst="rect">
            <a:avLst/>
          </a:prstGeom>
          <a:solidFill>
            <a:srgbClr val="000000">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solidFill>
                  <a:sysClr val="windowText" lastClr="000000"/>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Freeform: Shape 3">
            <a:extLst>
              <a:ext uri="{FF2B5EF4-FFF2-40B4-BE49-F238E27FC236}">
                <a16:creationId xmlns:a16="http://schemas.microsoft.com/office/drawing/2014/main" id="{9B1EC653-4AE2-46DE-B943-C4145560F478}"/>
              </a:ext>
              <a:ext uri="{C183D7F6-B498-43B3-948B-1728B52AA6E4}">
                <adec:decorative xmlns:adec="http://schemas.microsoft.com/office/drawing/2017/decorative" val="1"/>
              </a:ext>
            </a:extLst>
          </p:cNvPr>
          <p:cNvSpPr/>
          <p:nvPr userDrawn="1"/>
        </p:nvSpPr>
        <p:spPr bwMode="auto">
          <a:xfrm>
            <a:off x="10068113" y="412235"/>
            <a:ext cx="2124250" cy="4157360"/>
          </a:xfrm>
          <a:custGeom>
            <a:avLst/>
            <a:gdLst>
              <a:gd name="connsiteX0" fmla="*/ 2124546 w 2124552"/>
              <a:gd name="connsiteY0" fmla="*/ 0 h 4309204"/>
              <a:gd name="connsiteX1" fmla="*/ 2120341 w 2124552"/>
              <a:gd name="connsiteY1" fmla="*/ 3735089 h 4309204"/>
              <a:gd name="connsiteX2" fmla="*/ 2120113 w 2124552"/>
              <a:gd name="connsiteY2" fmla="*/ 3963333 h 4309204"/>
              <a:gd name="connsiteX3" fmla="*/ 61596 w 2124552"/>
              <a:gd name="connsiteY3" fmla="*/ 4157950 h 4309204"/>
              <a:gd name="connsiteX4" fmla="*/ 66876 w 2124552"/>
              <a:gd name="connsiteY4" fmla="*/ 4184105 h 4309204"/>
              <a:gd name="connsiteX5" fmla="*/ 43140 w 2124552"/>
              <a:gd name="connsiteY5" fmla="*/ 4301675 h 4309204"/>
              <a:gd name="connsiteX6" fmla="*/ 39053 w 2124552"/>
              <a:gd name="connsiteY6" fmla="*/ 4309204 h 4309204"/>
              <a:gd name="connsiteX7" fmla="*/ 52064 w 2124552"/>
              <a:gd name="connsiteY7" fmla="*/ 4267289 h 4309204"/>
              <a:gd name="connsiteX8" fmla="*/ 58201 w 2124552"/>
              <a:gd name="connsiteY8" fmla="*/ 4206416 h 4309204"/>
              <a:gd name="connsiteX9" fmla="*/ 6616 w 2124552"/>
              <a:gd name="connsiteY9" fmla="*/ 4037540 h 4309204"/>
              <a:gd name="connsiteX10" fmla="*/ 0 w 2124552"/>
              <a:gd name="connsiteY10" fmla="*/ 4029521 h 4309204"/>
              <a:gd name="connsiteX11" fmla="*/ 2124546 w 2124552"/>
              <a:gd name="connsiteY11" fmla="*/ 0 h 4309204"/>
              <a:gd name="connsiteX0" fmla="*/ 2124546 w 2124552"/>
              <a:gd name="connsiteY0" fmla="*/ 0 h 4301675"/>
              <a:gd name="connsiteX1" fmla="*/ 2120341 w 2124552"/>
              <a:gd name="connsiteY1" fmla="*/ 3735089 h 4301675"/>
              <a:gd name="connsiteX2" fmla="*/ 2120113 w 2124552"/>
              <a:gd name="connsiteY2" fmla="*/ 3963333 h 4301675"/>
              <a:gd name="connsiteX3" fmla="*/ 61596 w 2124552"/>
              <a:gd name="connsiteY3" fmla="*/ 4157950 h 4301675"/>
              <a:gd name="connsiteX4" fmla="*/ 66876 w 2124552"/>
              <a:gd name="connsiteY4" fmla="*/ 4184105 h 4301675"/>
              <a:gd name="connsiteX5" fmla="*/ 43140 w 2124552"/>
              <a:gd name="connsiteY5" fmla="*/ 4301675 h 4301675"/>
              <a:gd name="connsiteX6" fmla="*/ 52064 w 2124552"/>
              <a:gd name="connsiteY6" fmla="*/ 4267289 h 4301675"/>
              <a:gd name="connsiteX7" fmla="*/ 58201 w 2124552"/>
              <a:gd name="connsiteY7" fmla="*/ 4206416 h 4301675"/>
              <a:gd name="connsiteX8" fmla="*/ 6616 w 2124552"/>
              <a:gd name="connsiteY8" fmla="*/ 4037540 h 4301675"/>
              <a:gd name="connsiteX9" fmla="*/ 0 w 2124552"/>
              <a:gd name="connsiteY9" fmla="*/ 4029521 h 4301675"/>
              <a:gd name="connsiteX10" fmla="*/ 2124546 w 2124552"/>
              <a:gd name="connsiteY10" fmla="*/ 0 h 4301675"/>
              <a:gd name="connsiteX0" fmla="*/ 2124546 w 2124552"/>
              <a:gd name="connsiteY0" fmla="*/ 0 h 4267289"/>
              <a:gd name="connsiteX1" fmla="*/ 2120341 w 2124552"/>
              <a:gd name="connsiteY1" fmla="*/ 3735089 h 4267289"/>
              <a:gd name="connsiteX2" fmla="*/ 2120113 w 2124552"/>
              <a:gd name="connsiteY2" fmla="*/ 3963333 h 4267289"/>
              <a:gd name="connsiteX3" fmla="*/ 61596 w 2124552"/>
              <a:gd name="connsiteY3" fmla="*/ 4157950 h 4267289"/>
              <a:gd name="connsiteX4" fmla="*/ 66876 w 2124552"/>
              <a:gd name="connsiteY4" fmla="*/ 4184105 h 4267289"/>
              <a:gd name="connsiteX5" fmla="*/ 52064 w 2124552"/>
              <a:gd name="connsiteY5" fmla="*/ 4267289 h 4267289"/>
              <a:gd name="connsiteX6" fmla="*/ 58201 w 2124552"/>
              <a:gd name="connsiteY6" fmla="*/ 4206416 h 4267289"/>
              <a:gd name="connsiteX7" fmla="*/ 6616 w 2124552"/>
              <a:gd name="connsiteY7" fmla="*/ 4037540 h 4267289"/>
              <a:gd name="connsiteX8" fmla="*/ 0 w 2124552"/>
              <a:gd name="connsiteY8" fmla="*/ 4029521 h 4267289"/>
              <a:gd name="connsiteX9" fmla="*/ 2124546 w 2124552"/>
              <a:gd name="connsiteY9" fmla="*/ 0 h 4267289"/>
              <a:gd name="connsiteX0" fmla="*/ 2124546 w 2124552"/>
              <a:gd name="connsiteY0" fmla="*/ 0 h 4214400"/>
              <a:gd name="connsiteX1" fmla="*/ 2120341 w 2124552"/>
              <a:gd name="connsiteY1" fmla="*/ 3735089 h 4214400"/>
              <a:gd name="connsiteX2" fmla="*/ 2120113 w 2124552"/>
              <a:gd name="connsiteY2" fmla="*/ 3963333 h 4214400"/>
              <a:gd name="connsiteX3" fmla="*/ 61596 w 2124552"/>
              <a:gd name="connsiteY3" fmla="*/ 4157950 h 4214400"/>
              <a:gd name="connsiteX4" fmla="*/ 66876 w 2124552"/>
              <a:gd name="connsiteY4" fmla="*/ 4184105 h 4214400"/>
              <a:gd name="connsiteX5" fmla="*/ 58201 w 2124552"/>
              <a:gd name="connsiteY5" fmla="*/ 4206416 h 4214400"/>
              <a:gd name="connsiteX6" fmla="*/ 6616 w 2124552"/>
              <a:gd name="connsiteY6" fmla="*/ 4037540 h 4214400"/>
              <a:gd name="connsiteX7" fmla="*/ 0 w 2124552"/>
              <a:gd name="connsiteY7" fmla="*/ 4029521 h 4214400"/>
              <a:gd name="connsiteX8" fmla="*/ 2124546 w 2124552"/>
              <a:gd name="connsiteY8" fmla="*/ 0 h 4214400"/>
              <a:gd name="connsiteX0" fmla="*/ 2124546 w 2124552"/>
              <a:gd name="connsiteY0" fmla="*/ 0 h 4184105"/>
              <a:gd name="connsiteX1" fmla="*/ 2120341 w 2124552"/>
              <a:gd name="connsiteY1" fmla="*/ 3735089 h 4184105"/>
              <a:gd name="connsiteX2" fmla="*/ 2120113 w 2124552"/>
              <a:gd name="connsiteY2" fmla="*/ 3963333 h 4184105"/>
              <a:gd name="connsiteX3" fmla="*/ 61596 w 2124552"/>
              <a:gd name="connsiteY3" fmla="*/ 4157950 h 4184105"/>
              <a:gd name="connsiteX4" fmla="*/ 66876 w 2124552"/>
              <a:gd name="connsiteY4" fmla="*/ 4184105 h 4184105"/>
              <a:gd name="connsiteX5" fmla="*/ 6616 w 2124552"/>
              <a:gd name="connsiteY5" fmla="*/ 4037540 h 4184105"/>
              <a:gd name="connsiteX6" fmla="*/ 0 w 2124552"/>
              <a:gd name="connsiteY6" fmla="*/ 4029521 h 4184105"/>
              <a:gd name="connsiteX7" fmla="*/ 2124546 w 2124552"/>
              <a:gd name="connsiteY7" fmla="*/ 0 h 4184105"/>
              <a:gd name="connsiteX0" fmla="*/ 2124546 w 2124552"/>
              <a:gd name="connsiteY0" fmla="*/ 0 h 4157950"/>
              <a:gd name="connsiteX1" fmla="*/ 2120341 w 2124552"/>
              <a:gd name="connsiteY1" fmla="*/ 3735089 h 4157950"/>
              <a:gd name="connsiteX2" fmla="*/ 2120113 w 2124552"/>
              <a:gd name="connsiteY2" fmla="*/ 3963333 h 4157950"/>
              <a:gd name="connsiteX3" fmla="*/ 61596 w 2124552"/>
              <a:gd name="connsiteY3" fmla="*/ 4157950 h 4157950"/>
              <a:gd name="connsiteX4" fmla="*/ 6616 w 2124552"/>
              <a:gd name="connsiteY4" fmla="*/ 4037540 h 4157950"/>
              <a:gd name="connsiteX5" fmla="*/ 0 w 2124552"/>
              <a:gd name="connsiteY5" fmla="*/ 4029521 h 4157950"/>
              <a:gd name="connsiteX6" fmla="*/ 2124546 w 2124552"/>
              <a:gd name="connsiteY6" fmla="*/ 0 h 415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4552" h="4157950">
                <a:moveTo>
                  <a:pt x="2124546" y="0"/>
                </a:moveTo>
                <a:cubicBezTo>
                  <a:pt x="2124712" y="1431986"/>
                  <a:pt x="2121742" y="2490059"/>
                  <a:pt x="2120341" y="3735089"/>
                </a:cubicBezTo>
                <a:lnTo>
                  <a:pt x="2120113" y="3963333"/>
                </a:lnTo>
                <a:lnTo>
                  <a:pt x="61596" y="4157950"/>
                </a:lnTo>
                <a:lnTo>
                  <a:pt x="6616" y="4037540"/>
                </a:lnTo>
                <a:lnTo>
                  <a:pt x="0" y="4029521"/>
                </a:lnTo>
                <a:lnTo>
                  <a:pt x="2124546" y="0"/>
                </a:lnTo>
                <a:close/>
              </a:path>
            </a:pathLst>
          </a:custGeom>
          <a:solidFill>
            <a:schemeClr val="bg1">
              <a:alpha val="35000"/>
            </a:schemeClr>
          </a:solidFill>
          <a:ln>
            <a:solidFill>
              <a:schemeClr val="bg2"/>
            </a:solidFill>
          </a:ln>
        </p:spPr>
        <p:txBody>
          <a:bodyPr wrap="square" lIns="182854" tIns="146284" rIns="182854" bIns="146284" rtlCol="0">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A2BC8296-800A-4D1C-9495-65AB2F84627E}"/>
              </a:ext>
              <a:ext uri="{C183D7F6-B498-43B3-948B-1728B52AA6E4}">
                <adec:decorative xmlns:adec="http://schemas.microsoft.com/office/drawing/2017/decorative" val="1"/>
              </a:ext>
            </a:extLst>
          </p:cNvPr>
          <p:cNvGrpSpPr/>
          <p:nvPr userDrawn="1"/>
        </p:nvGrpSpPr>
        <p:grpSpPr>
          <a:xfrm>
            <a:off x="9962790" y="959275"/>
            <a:ext cx="1848156" cy="3465217"/>
            <a:chOff x="10172391" y="1176480"/>
            <a:chExt cx="1848418" cy="3465709"/>
          </a:xfrm>
        </p:grpSpPr>
        <p:sp>
          <p:nvSpPr>
            <p:cNvPr id="6" name="Freeform 102">
              <a:extLst>
                <a:ext uri="{FF2B5EF4-FFF2-40B4-BE49-F238E27FC236}">
                  <a16:creationId xmlns:a16="http://schemas.microsoft.com/office/drawing/2014/main" id="{9E514DAB-D3EB-4841-BCB8-C608185C21A6}"/>
                </a:ext>
              </a:extLst>
            </p:cNvPr>
            <p:cNvSpPr/>
            <p:nvPr/>
          </p:nvSpPr>
          <p:spPr bwMode="auto">
            <a:xfrm flipV="1">
              <a:off x="10236541" y="1176480"/>
              <a:ext cx="1784268" cy="3418002"/>
            </a:xfrm>
            <a:custGeom>
              <a:avLst/>
              <a:gdLst>
                <a:gd name="connsiteX0" fmla="*/ 0 w 3192378"/>
                <a:gd name="connsiteY0" fmla="*/ 0 h 818147"/>
                <a:gd name="connsiteX1" fmla="*/ 2374231 w 3192378"/>
                <a:gd name="connsiteY1" fmla="*/ 0 h 818147"/>
                <a:gd name="connsiteX2" fmla="*/ 3192378 w 3192378"/>
                <a:gd name="connsiteY2" fmla="*/ 818147 h 818147"/>
                <a:gd name="connsiteX0" fmla="*/ 0 w 4731315"/>
                <a:gd name="connsiteY0" fmla="*/ 0 h 2357084"/>
                <a:gd name="connsiteX1" fmla="*/ 2374231 w 4731315"/>
                <a:gd name="connsiteY1" fmla="*/ 0 h 2357084"/>
                <a:gd name="connsiteX2" fmla="*/ 4731315 w 4731315"/>
                <a:gd name="connsiteY2" fmla="*/ 2357084 h 2357084"/>
                <a:gd name="connsiteX0" fmla="*/ 0 w 5028302"/>
                <a:gd name="connsiteY0" fmla="*/ 6750 h 2357084"/>
                <a:gd name="connsiteX1" fmla="*/ 2671218 w 5028302"/>
                <a:gd name="connsiteY1" fmla="*/ 0 h 2357084"/>
                <a:gd name="connsiteX2" fmla="*/ 5028302 w 5028302"/>
                <a:gd name="connsiteY2" fmla="*/ 2357084 h 2357084"/>
                <a:gd name="connsiteX0" fmla="*/ 0 w 5183546"/>
                <a:gd name="connsiteY0" fmla="*/ 6750 h 2357084"/>
                <a:gd name="connsiteX1" fmla="*/ 2826462 w 5183546"/>
                <a:gd name="connsiteY1" fmla="*/ 0 h 2357084"/>
                <a:gd name="connsiteX2" fmla="*/ 5183546 w 5183546"/>
                <a:gd name="connsiteY2" fmla="*/ 2357084 h 2357084"/>
                <a:gd name="connsiteX0" fmla="*/ 0 w 2357084"/>
                <a:gd name="connsiteY0" fmla="*/ 0 h 2357084"/>
                <a:gd name="connsiteX1" fmla="*/ 2357084 w 2357084"/>
                <a:gd name="connsiteY1" fmla="*/ 2357084 h 2357084"/>
              </a:gdLst>
              <a:ahLst/>
              <a:cxnLst>
                <a:cxn ang="0">
                  <a:pos x="connsiteX0" y="connsiteY0"/>
                </a:cxn>
                <a:cxn ang="0">
                  <a:pos x="connsiteX1" y="connsiteY1"/>
                </a:cxn>
              </a:cxnLst>
              <a:rect l="l" t="t" r="r" b="b"/>
              <a:pathLst>
                <a:path w="2357084" h="2357084">
                  <a:moveTo>
                    <a:pt x="0" y="0"/>
                  </a:moveTo>
                  <a:lnTo>
                    <a:pt x="2357084" y="2357084"/>
                  </a:lnTo>
                </a:path>
              </a:pathLst>
            </a:custGeom>
            <a:noFill/>
            <a:ln w="19050">
              <a:solidFill>
                <a:schemeClr val="bg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Freeform 103">
              <a:extLst>
                <a:ext uri="{FF2B5EF4-FFF2-40B4-BE49-F238E27FC236}">
                  <a16:creationId xmlns:a16="http://schemas.microsoft.com/office/drawing/2014/main" id="{04026D58-A3E2-40D4-BD3D-49F6BEEA9AAD}"/>
                </a:ext>
              </a:extLst>
            </p:cNvPr>
            <p:cNvSpPr/>
            <p:nvPr/>
          </p:nvSpPr>
          <p:spPr bwMode="auto">
            <a:xfrm flipV="1">
              <a:off x="10172391" y="1501713"/>
              <a:ext cx="1593735" cy="3053011"/>
            </a:xfrm>
            <a:custGeom>
              <a:avLst/>
              <a:gdLst>
                <a:gd name="connsiteX0" fmla="*/ 0 w 3192378"/>
                <a:gd name="connsiteY0" fmla="*/ 0 h 818147"/>
                <a:gd name="connsiteX1" fmla="*/ 2374231 w 3192378"/>
                <a:gd name="connsiteY1" fmla="*/ 0 h 818147"/>
                <a:gd name="connsiteX2" fmla="*/ 3192378 w 3192378"/>
                <a:gd name="connsiteY2" fmla="*/ 818147 h 818147"/>
                <a:gd name="connsiteX0" fmla="*/ 0 w 4731315"/>
                <a:gd name="connsiteY0" fmla="*/ 0 h 2357084"/>
                <a:gd name="connsiteX1" fmla="*/ 2374231 w 4731315"/>
                <a:gd name="connsiteY1" fmla="*/ 0 h 2357084"/>
                <a:gd name="connsiteX2" fmla="*/ 4731315 w 4731315"/>
                <a:gd name="connsiteY2" fmla="*/ 2357084 h 2357084"/>
                <a:gd name="connsiteX0" fmla="*/ 0 w 5028302"/>
                <a:gd name="connsiteY0" fmla="*/ 6750 h 2357084"/>
                <a:gd name="connsiteX1" fmla="*/ 2671218 w 5028302"/>
                <a:gd name="connsiteY1" fmla="*/ 0 h 2357084"/>
                <a:gd name="connsiteX2" fmla="*/ 5028302 w 5028302"/>
                <a:gd name="connsiteY2" fmla="*/ 2357084 h 2357084"/>
                <a:gd name="connsiteX0" fmla="*/ 0 w 5183546"/>
                <a:gd name="connsiteY0" fmla="*/ 6750 h 2357084"/>
                <a:gd name="connsiteX1" fmla="*/ 2826462 w 5183546"/>
                <a:gd name="connsiteY1" fmla="*/ 0 h 2357084"/>
                <a:gd name="connsiteX2" fmla="*/ 5183546 w 5183546"/>
                <a:gd name="connsiteY2" fmla="*/ 2357084 h 2357084"/>
                <a:gd name="connsiteX0" fmla="*/ 0 w 2357084"/>
                <a:gd name="connsiteY0" fmla="*/ 0 h 2357084"/>
                <a:gd name="connsiteX1" fmla="*/ 2357084 w 2357084"/>
                <a:gd name="connsiteY1" fmla="*/ 2357084 h 2357084"/>
              </a:gdLst>
              <a:ahLst/>
              <a:cxnLst>
                <a:cxn ang="0">
                  <a:pos x="connsiteX0" y="connsiteY0"/>
                </a:cxn>
                <a:cxn ang="0">
                  <a:pos x="connsiteX1" y="connsiteY1"/>
                </a:cxn>
              </a:cxnLst>
              <a:rect l="l" t="t" r="r" b="b"/>
              <a:pathLst>
                <a:path w="2357084" h="2357084">
                  <a:moveTo>
                    <a:pt x="0" y="0"/>
                  </a:moveTo>
                  <a:lnTo>
                    <a:pt x="2357084" y="2357084"/>
                  </a:lnTo>
                </a:path>
              </a:pathLst>
            </a:custGeom>
            <a:noFill/>
            <a:ln w="19050">
              <a:solidFill>
                <a:schemeClr val="bg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 name="Freeform 104">
              <a:extLst>
                <a:ext uri="{FF2B5EF4-FFF2-40B4-BE49-F238E27FC236}">
                  <a16:creationId xmlns:a16="http://schemas.microsoft.com/office/drawing/2014/main" id="{CD8009B3-4357-45C7-BB0E-F8B0B7606683}"/>
                </a:ext>
              </a:extLst>
            </p:cNvPr>
            <p:cNvSpPr/>
            <p:nvPr/>
          </p:nvSpPr>
          <p:spPr bwMode="auto">
            <a:xfrm flipV="1">
              <a:off x="10283708" y="1411745"/>
              <a:ext cx="1700922" cy="3230444"/>
            </a:xfrm>
            <a:custGeom>
              <a:avLst/>
              <a:gdLst>
                <a:gd name="connsiteX0" fmla="*/ 0 w 3192378"/>
                <a:gd name="connsiteY0" fmla="*/ 0 h 818147"/>
                <a:gd name="connsiteX1" fmla="*/ 2374231 w 3192378"/>
                <a:gd name="connsiteY1" fmla="*/ 0 h 818147"/>
                <a:gd name="connsiteX2" fmla="*/ 3192378 w 3192378"/>
                <a:gd name="connsiteY2" fmla="*/ 818147 h 818147"/>
                <a:gd name="connsiteX0" fmla="*/ 0 w 4731315"/>
                <a:gd name="connsiteY0" fmla="*/ 0 h 2357084"/>
                <a:gd name="connsiteX1" fmla="*/ 2374231 w 4731315"/>
                <a:gd name="connsiteY1" fmla="*/ 0 h 2357084"/>
                <a:gd name="connsiteX2" fmla="*/ 4731315 w 4731315"/>
                <a:gd name="connsiteY2" fmla="*/ 2357084 h 2357084"/>
                <a:gd name="connsiteX0" fmla="*/ 0 w 5028302"/>
                <a:gd name="connsiteY0" fmla="*/ 6750 h 2357084"/>
                <a:gd name="connsiteX1" fmla="*/ 2671218 w 5028302"/>
                <a:gd name="connsiteY1" fmla="*/ 0 h 2357084"/>
                <a:gd name="connsiteX2" fmla="*/ 5028302 w 5028302"/>
                <a:gd name="connsiteY2" fmla="*/ 2357084 h 2357084"/>
                <a:gd name="connsiteX0" fmla="*/ 0 w 5183546"/>
                <a:gd name="connsiteY0" fmla="*/ 6750 h 2357084"/>
                <a:gd name="connsiteX1" fmla="*/ 2826462 w 5183546"/>
                <a:gd name="connsiteY1" fmla="*/ 0 h 2357084"/>
                <a:gd name="connsiteX2" fmla="*/ 5183546 w 5183546"/>
                <a:gd name="connsiteY2" fmla="*/ 2357084 h 2357084"/>
                <a:gd name="connsiteX0" fmla="*/ 0 w 2357084"/>
                <a:gd name="connsiteY0" fmla="*/ 0 h 2357084"/>
                <a:gd name="connsiteX1" fmla="*/ 2357084 w 2357084"/>
                <a:gd name="connsiteY1" fmla="*/ 2357084 h 2357084"/>
              </a:gdLst>
              <a:ahLst/>
              <a:cxnLst>
                <a:cxn ang="0">
                  <a:pos x="connsiteX0" y="connsiteY0"/>
                </a:cxn>
                <a:cxn ang="0">
                  <a:pos x="connsiteX1" y="connsiteY1"/>
                </a:cxn>
              </a:cxnLst>
              <a:rect l="l" t="t" r="r" b="b"/>
              <a:pathLst>
                <a:path w="2357084" h="2357084">
                  <a:moveTo>
                    <a:pt x="0" y="0"/>
                  </a:moveTo>
                  <a:lnTo>
                    <a:pt x="2357084" y="2357084"/>
                  </a:lnTo>
                </a:path>
              </a:pathLst>
            </a:custGeom>
            <a:noFill/>
            <a:ln w="19050">
              <a:solidFill>
                <a:schemeClr val="bg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cxnSp>
        <p:nvCxnSpPr>
          <p:cNvPr id="9" name="Straight Connector 8">
            <a:extLst>
              <a:ext uri="{FF2B5EF4-FFF2-40B4-BE49-F238E27FC236}">
                <a16:creationId xmlns:a16="http://schemas.microsoft.com/office/drawing/2014/main" id="{0A6E9DAA-C74D-4FEC-B6E1-AE64EC93C27C}"/>
              </a:ext>
              <a:ext uri="{C183D7F6-B498-43B3-948B-1728B52AA6E4}">
                <adec:decorative xmlns:adec="http://schemas.microsoft.com/office/drawing/2017/decorative" val="1"/>
              </a:ext>
            </a:extLst>
          </p:cNvPr>
          <p:cNvCxnSpPr>
            <a:cxnSpLocks/>
          </p:cNvCxnSpPr>
          <p:nvPr userDrawn="1"/>
        </p:nvCxnSpPr>
        <p:spPr>
          <a:xfrm>
            <a:off x="9828706" y="2343351"/>
            <a:ext cx="0" cy="1944348"/>
          </a:xfrm>
          <a:prstGeom prst="line">
            <a:avLst/>
          </a:prstGeom>
          <a:ln w="19050">
            <a:solidFill>
              <a:schemeClr val="bg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B1E0C74E-95F3-4A12-931C-180E49D46DCE}"/>
              </a:ext>
              <a:ext uri="{C183D7F6-B498-43B3-948B-1728B52AA6E4}">
                <adec:decorative xmlns:adec="http://schemas.microsoft.com/office/drawing/2017/decorative" val="1"/>
              </a:ext>
            </a:extLst>
          </p:cNvPr>
          <p:cNvSpPr/>
          <p:nvPr userDrawn="1"/>
        </p:nvSpPr>
        <p:spPr bwMode="auto">
          <a:xfrm>
            <a:off x="9733805" y="2258267"/>
            <a:ext cx="182854" cy="182854"/>
          </a:xfrm>
          <a:prstGeom prst="ellipse">
            <a:avLst/>
          </a:prstGeom>
          <a:solidFill>
            <a:srgbClr val="0078D7"/>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Oval 10">
            <a:extLst>
              <a:ext uri="{FF2B5EF4-FFF2-40B4-BE49-F238E27FC236}">
                <a16:creationId xmlns:a16="http://schemas.microsoft.com/office/drawing/2014/main" id="{4E52A952-F7B1-40D4-95BB-E0367BAB0B60}"/>
              </a:ext>
              <a:ext uri="{C183D7F6-B498-43B3-948B-1728B52AA6E4}">
                <adec:decorative xmlns:adec="http://schemas.microsoft.com/office/drawing/2017/decorative" val="1"/>
              </a:ext>
            </a:extLst>
          </p:cNvPr>
          <p:cNvSpPr/>
          <p:nvPr userDrawn="1"/>
        </p:nvSpPr>
        <p:spPr bwMode="auto">
          <a:xfrm>
            <a:off x="9733805" y="2821586"/>
            <a:ext cx="182854" cy="182854"/>
          </a:xfrm>
          <a:prstGeom prst="ellipse">
            <a:avLst/>
          </a:prstGeom>
          <a:solidFill>
            <a:srgbClr val="0078D7"/>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Oval 11">
            <a:extLst>
              <a:ext uri="{FF2B5EF4-FFF2-40B4-BE49-F238E27FC236}">
                <a16:creationId xmlns:a16="http://schemas.microsoft.com/office/drawing/2014/main" id="{96067DFC-763A-475B-B4D2-37B0B50D0436}"/>
              </a:ext>
              <a:ext uri="{C183D7F6-B498-43B3-948B-1728B52AA6E4}">
                <adec:decorative xmlns:adec="http://schemas.microsoft.com/office/drawing/2017/decorative" val="1"/>
              </a:ext>
            </a:extLst>
          </p:cNvPr>
          <p:cNvSpPr/>
          <p:nvPr userDrawn="1"/>
        </p:nvSpPr>
        <p:spPr bwMode="auto">
          <a:xfrm>
            <a:off x="9733805" y="3405956"/>
            <a:ext cx="182854" cy="182854"/>
          </a:xfrm>
          <a:prstGeom prst="ellipse">
            <a:avLst/>
          </a:prstGeom>
          <a:solidFill>
            <a:srgbClr val="0078D7"/>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Freeform: Shape 12">
            <a:extLst>
              <a:ext uri="{FF2B5EF4-FFF2-40B4-BE49-F238E27FC236}">
                <a16:creationId xmlns:a16="http://schemas.microsoft.com/office/drawing/2014/main" id="{078690A5-014C-4158-85D0-D6438120566D}"/>
              </a:ext>
              <a:ext uri="{C183D7F6-B498-43B3-948B-1728B52AA6E4}">
                <adec:decorative xmlns:adec="http://schemas.microsoft.com/office/drawing/2017/decorative" val="1"/>
              </a:ext>
            </a:extLst>
          </p:cNvPr>
          <p:cNvSpPr/>
          <p:nvPr userDrawn="1"/>
        </p:nvSpPr>
        <p:spPr bwMode="auto">
          <a:xfrm>
            <a:off x="655690" y="4380642"/>
            <a:ext cx="11567347" cy="1125538"/>
          </a:xfrm>
          <a:custGeom>
            <a:avLst/>
            <a:gdLst>
              <a:gd name="connsiteX0" fmla="*/ 11568987 w 11568987"/>
              <a:gd name="connsiteY0" fmla="*/ 0 h 1125697"/>
              <a:gd name="connsiteX1" fmla="*/ 11568987 w 11568987"/>
              <a:gd name="connsiteY1" fmla="*/ 1105538 h 1125697"/>
              <a:gd name="connsiteX2" fmla="*/ 9191698 w 11568987"/>
              <a:gd name="connsiteY2" fmla="*/ 1105538 h 1125697"/>
              <a:gd name="connsiteX3" fmla="*/ 9191698 w 11568987"/>
              <a:gd name="connsiteY3" fmla="*/ 906404 h 1125697"/>
              <a:gd name="connsiteX4" fmla="*/ 9190469 w 11568987"/>
              <a:gd name="connsiteY4" fmla="*/ 906407 h 1125697"/>
              <a:gd name="connsiteX5" fmla="*/ 9190469 w 11568987"/>
              <a:gd name="connsiteY5" fmla="*/ 1105538 h 1125697"/>
              <a:gd name="connsiteX6" fmla="*/ 42333 w 11568987"/>
              <a:gd name="connsiteY6" fmla="*/ 1125697 h 1125697"/>
              <a:gd name="connsiteX7" fmla="*/ 0 w 11568987"/>
              <a:gd name="connsiteY7" fmla="*/ 1091576 h 1125697"/>
              <a:gd name="connsiteX8" fmla="*/ 8907725 w 11568987"/>
              <a:gd name="connsiteY8" fmla="*/ 267416 h 1125697"/>
              <a:gd name="connsiteX9" fmla="*/ 8926633 w 11568987"/>
              <a:gd name="connsiteY9" fmla="*/ 361073 h 1125697"/>
              <a:gd name="connsiteX10" fmla="*/ 9115124 w 11568987"/>
              <a:gd name="connsiteY10" fmla="*/ 531970 h 1125697"/>
              <a:gd name="connsiteX11" fmla="*/ 9190469 w 11568987"/>
              <a:gd name="connsiteY11" fmla="*/ 543361 h 1125697"/>
              <a:gd name="connsiteX12" fmla="*/ 9190469 w 11568987"/>
              <a:gd name="connsiteY12" fmla="*/ 716581 h 1125697"/>
              <a:gd name="connsiteX13" fmla="*/ 9191698 w 11568987"/>
              <a:gd name="connsiteY13" fmla="*/ 716468 h 1125697"/>
              <a:gd name="connsiteX14" fmla="*/ 9191698 w 11568987"/>
              <a:gd name="connsiteY14" fmla="*/ 521467 h 1125697"/>
              <a:gd name="connsiteX15" fmla="*/ 9209265 w 11568987"/>
              <a:gd name="connsiteY15" fmla="*/ 523238 h 1125697"/>
              <a:gd name="connsiteX16" fmla="*/ 9511311 w 11568987"/>
              <a:gd name="connsiteY16" fmla="*/ 221192 h 1125697"/>
              <a:gd name="connsiteX17" fmla="*/ 9506031 w 11568987"/>
              <a:gd name="connsiteY17" fmla="*/ 195037 h 1125697"/>
              <a:gd name="connsiteX0" fmla="*/ 11568987 w 11568987"/>
              <a:gd name="connsiteY0" fmla="*/ 0 h 1125697"/>
              <a:gd name="connsiteX1" fmla="*/ 11568987 w 11568987"/>
              <a:gd name="connsiteY1" fmla="*/ 1105538 h 1125697"/>
              <a:gd name="connsiteX2" fmla="*/ 9191698 w 11568987"/>
              <a:gd name="connsiteY2" fmla="*/ 1105538 h 1125697"/>
              <a:gd name="connsiteX3" fmla="*/ 9191698 w 11568987"/>
              <a:gd name="connsiteY3" fmla="*/ 906404 h 1125697"/>
              <a:gd name="connsiteX4" fmla="*/ 9190469 w 11568987"/>
              <a:gd name="connsiteY4" fmla="*/ 1105538 h 1125697"/>
              <a:gd name="connsiteX5" fmla="*/ 42333 w 11568987"/>
              <a:gd name="connsiteY5" fmla="*/ 1125697 h 1125697"/>
              <a:gd name="connsiteX6" fmla="*/ 0 w 11568987"/>
              <a:gd name="connsiteY6" fmla="*/ 1091576 h 1125697"/>
              <a:gd name="connsiteX7" fmla="*/ 8907725 w 11568987"/>
              <a:gd name="connsiteY7" fmla="*/ 267416 h 1125697"/>
              <a:gd name="connsiteX8" fmla="*/ 8926633 w 11568987"/>
              <a:gd name="connsiteY8" fmla="*/ 361073 h 1125697"/>
              <a:gd name="connsiteX9" fmla="*/ 9115124 w 11568987"/>
              <a:gd name="connsiteY9" fmla="*/ 531970 h 1125697"/>
              <a:gd name="connsiteX10" fmla="*/ 9190469 w 11568987"/>
              <a:gd name="connsiteY10" fmla="*/ 543361 h 1125697"/>
              <a:gd name="connsiteX11" fmla="*/ 9190469 w 11568987"/>
              <a:gd name="connsiteY11" fmla="*/ 716581 h 1125697"/>
              <a:gd name="connsiteX12" fmla="*/ 9191698 w 11568987"/>
              <a:gd name="connsiteY12" fmla="*/ 716468 h 1125697"/>
              <a:gd name="connsiteX13" fmla="*/ 9191698 w 11568987"/>
              <a:gd name="connsiteY13" fmla="*/ 521467 h 1125697"/>
              <a:gd name="connsiteX14" fmla="*/ 9209265 w 11568987"/>
              <a:gd name="connsiteY14" fmla="*/ 523238 h 1125697"/>
              <a:gd name="connsiteX15" fmla="*/ 9511311 w 11568987"/>
              <a:gd name="connsiteY15" fmla="*/ 221192 h 1125697"/>
              <a:gd name="connsiteX16" fmla="*/ 9506031 w 11568987"/>
              <a:gd name="connsiteY16" fmla="*/ 195037 h 1125697"/>
              <a:gd name="connsiteX17" fmla="*/ 11568987 w 11568987"/>
              <a:gd name="connsiteY17" fmla="*/ 0 h 1125697"/>
              <a:gd name="connsiteX0" fmla="*/ 11568987 w 11568987"/>
              <a:gd name="connsiteY0" fmla="*/ 0 h 1125697"/>
              <a:gd name="connsiteX1" fmla="*/ 11568987 w 11568987"/>
              <a:gd name="connsiteY1" fmla="*/ 1105538 h 1125697"/>
              <a:gd name="connsiteX2" fmla="*/ 9191698 w 11568987"/>
              <a:gd name="connsiteY2" fmla="*/ 1105538 h 1125697"/>
              <a:gd name="connsiteX3" fmla="*/ 9190469 w 11568987"/>
              <a:gd name="connsiteY3" fmla="*/ 1105538 h 1125697"/>
              <a:gd name="connsiteX4" fmla="*/ 42333 w 11568987"/>
              <a:gd name="connsiteY4" fmla="*/ 1125697 h 1125697"/>
              <a:gd name="connsiteX5" fmla="*/ 0 w 11568987"/>
              <a:gd name="connsiteY5" fmla="*/ 1091576 h 1125697"/>
              <a:gd name="connsiteX6" fmla="*/ 8907725 w 11568987"/>
              <a:gd name="connsiteY6" fmla="*/ 267416 h 1125697"/>
              <a:gd name="connsiteX7" fmla="*/ 8926633 w 11568987"/>
              <a:gd name="connsiteY7" fmla="*/ 361073 h 1125697"/>
              <a:gd name="connsiteX8" fmla="*/ 9115124 w 11568987"/>
              <a:gd name="connsiteY8" fmla="*/ 531970 h 1125697"/>
              <a:gd name="connsiteX9" fmla="*/ 9190469 w 11568987"/>
              <a:gd name="connsiteY9" fmla="*/ 543361 h 1125697"/>
              <a:gd name="connsiteX10" fmla="*/ 9190469 w 11568987"/>
              <a:gd name="connsiteY10" fmla="*/ 716581 h 1125697"/>
              <a:gd name="connsiteX11" fmla="*/ 9191698 w 11568987"/>
              <a:gd name="connsiteY11" fmla="*/ 716468 h 1125697"/>
              <a:gd name="connsiteX12" fmla="*/ 9191698 w 11568987"/>
              <a:gd name="connsiteY12" fmla="*/ 521467 h 1125697"/>
              <a:gd name="connsiteX13" fmla="*/ 9209265 w 11568987"/>
              <a:gd name="connsiteY13" fmla="*/ 523238 h 1125697"/>
              <a:gd name="connsiteX14" fmla="*/ 9511311 w 11568987"/>
              <a:gd name="connsiteY14" fmla="*/ 221192 h 1125697"/>
              <a:gd name="connsiteX15" fmla="*/ 9506031 w 11568987"/>
              <a:gd name="connsiteY15" fmla="*/ 195037 h 1125697"/>
              <a:gd name="connsiteX16" fmla="*/ 11568987 w 11568987"/>
              <a:gd name="connsiteY16" fmla="*/ 0 h 1125697"/>
              <a:gd name="connsiteX0" fmla="*/ 11568987 w 11568987"/>
              <a:gd name="connsiteY0" fmla="*/ 0 h 1125697"/>
              <a:gd name="connsiteX1" fmla="*/ 11568987 w 11568987"/>
              <a:gd name="connsiteY1" fmla="*/ 1105538 h 1125697"/>
              <a:gd name="connsiteX2" fmla="*/ 9191698 w 11568987"/>
              <a:gd name="connsiteY2" fmla="*/ 1105538 h 1125697"/>
              <a:gd name="connsiteX3" fmla="*/ 42333 w 11568987"/>
              <a:gd name="connsiteY3" fmla="*/ 1125697 h 1125697"/>
              <a:gd name="connsiteX4" fmla="*/ 0 w 11568987"/>
              <a:gd name="connsiteY4" fmla="*/ 1091576 h 1125697"/>
              <a:gd name="connsiteX5" fmla="*/ 8907725 w 11568987"/>
              <a:gd name="connsiteY5" fmla="*/ 267416 h 1125697"/>
              <a:gd name="connsiteX6" fmla="*/ 8926633 w 11568987"/>
              <a:gd name="connsiteY6" fmla="*/ 361073 h 1125697"/>
              <a:gd name="connsiteX7" fmla="*/ 9115124 w 11568987"/>
              <a:gd name="connsiteY7" fmla="*/ 531970 h 1125697"/>
              <a:gd name="connsiteX8" fmla="*/ 9190469 w 11568987"/>
              <a:gd name="connsiteY8" fmla="*/ 543361 h 1125697"/>
              <a:gd name="connsiteX9" fmla="*/ 9190469 w 11568987"/>
              <a:gd name="connsiteY9" fmla="*/ 716581 h 1125697"/>
              <a:gd name="connsiteX10" fmla="*/ 9191698 w 11568987"/>
              <a:gd name="connsiteY10" fmla="*/ 716468 h 1125697"/>
              <a:gd name="connsiteX11" fmla="*/ 9191698 w 11568987"/>
              <a:gd name="connsiteY11" fmla="*/ 521467 h 1125697"/>
              <a:gd name="connsiteX12" fmla="*/ 9209265 w 11568987"/>
              <a:gd name="connsiteY12" fmla="*/ 523238 h 1125697"/>
              <a:gd name="connsiteX13" fmla="*/ 9511311 w 11568987"/>
              <a:gd name="connsiteY13" fmla="*/ 221192 h 1125697"/>
              <a:gd name="connsiteX14" fmla="*/ 9506031 w 11568987"/>
              <a:gd name="connsiteY14" fmla="*/ 195037 h 1125697"/>
              <a:gd name="connsiteX15" fmla="*/ 11568987 w 11568987"/>
              <a:gd name="connsiteY15" fmla="*/ 0 h 1125697"/>
              <a:gd name="connsiteX0" fmla="*/ 11568987 w 11568987"/>
              <a:gd name="connsiteY0" fmla="*/ 0 h 1125697"/>
              <a:gd name="connsiteX1" fmla="*/ 11568987 w 11568987"/>
              <a:gd name="connsiteY1" fmla="*/ 1105538 h 1125697"/>
              <a:gd name="connsiteX2" fmla="*/ 42333 w 11568987"/>
              <a:gd name="connsiteY2" fmla="*/ 1125697 h 1125697"/>
              <a:gd name="connsiteX3" fmla="*/ 0 w 11568987"/>
              <a:gd name="connsiteY3" fmla="*/ 1091576 h 1125697"/>
              <a:gd name="connsiteX4" fmla="*/ 8907725 w 11568987"/>
              <a:gd name="connsiteY4" fmla="*/ 267416 h 1125697"/>
              <a:gd name="connsiteX5" fmla="*/ 8926633 w 11568987"/>
              <a:gd name="connsiteY5" fmla="*/ 361073 h 1125697"/>
              <a:gd name="connsiteX6" fmla="*/ 9115124 w 11568987"/>
              <a:gd name="connsiteY6" fmla="*/ 531970 h 1125697"/>
              <a:gd name="connsiteX7" fmla="*/ 9190469 w 11568987"/>
              <a:gd name="connsiteY7" fmla="*/ 543361 h 1125697"/>
              <a:gd name="connsiteX8" fmla="*/ 9190469 w 11568987"/>
              <a:gd name="connsiteY8" fmla="*/ 716581 h 1125697"/>
              <a:gd name="connsiteX9" fmla="*/ 9191698 w 11568987"/>
              <a:gd name="connsiteY9" fmla="*/ 716468 h 1125697"/>
              <a:gd name="connsiteX10" fmla="*/ 9191698 w 11568987"/>
              <a:gd name="connsiteY10" fmla="*/ 521467 h 1125697"/>
              <a:gd name="connsiteX11" fmla="*/ 9209265 w 11568987"/>
              <a:gd name="connsiteY11" fmla="*/ 523238 h 1125697"/>
              <a:gd name="connsiteX12" fmla="*/ 9511311 w 11568987"/>
              <a:gd name="connsiteY12" fmla="*/ 221192 h 1125697"/>
              <a:gd name="connsiteX13" fmla="*/ 9506031 w 11568987"/>
              <a:gd name="connsiteY13" fmla="*/ 195037 h 1125697"/>
              <a:gd name="connsiteX14" fmla="*/ 11568987 w 11568987"/>
              <a:gd name="connsiteY14" fmla="*/ 0 h 1125697"/>
              <a:gd name="connsiteX0" fmla="*/ 11568987 w 11568987"/>
              <a:gd name="connsiteY0" fmla="*/ 0 h 1125697"/>
              <a:gd name="connsiteX1" fmla="*/ 11568987 w 11568987"/>
              <a:gd name="connsiteY1" fmla="*/ 1105538 h 1125697"/>
              <a:gd name="connsiteX2" fmla="*/ 42333 w 11568987"/>
              <a:gd name="connsiteY2" fmla="*/ 1125697 h 1125697"/>
              <a:gd name="connsiteX3" fmla="*/ 0 w 11568987"/>
              <a:gd name="connsiteY3" fmla="*/ 1091576 h 1125697"/>
              <a:gd name="connsiteX4" fmla="*/ 8907725 w 11568987"/>
              <a:gd name="connsiteY4" fmla="*/ 267416 h 1125697"/>
              <a:gd name="connsiteX5" fmla="*/ 8926633 w 11568987"/>
              <a:gd name="connsiteY5" fmla="*/ 361073 h 1125697"/>
              <a:gd name="connsiteX6" fmla="*/ 9115124 w 11568987"/>
              <a:gd name="connsiteY6" fmla="*/ 531970 h 1125697"/>
              <a:gd name="connsiteX7" fmla="*/ 9190469 w 11568987"/>
              <a:gd name="connsiteY7" fmla="*/ 543361 h 1125697"/>
              <a:gd name="connsiteX8" fmla="*/ 9190469 w 11568987"/>
              <a:gd name="connsiteY8" fmla="*/ 716581 h 1125697"/>
              <a:gd name="connsiteX9" fmla="*/ 9191698 w 11568987"/>
              <a:gd name="connsiteY9" fmla="*/ 521467 h 1125697"/>
              <a:gd name="connsiteX10" fmla="*/ 9209265 w 11568987"/>
              <a:gd name="connsiteY10" fmla="*/ 523238 h 1125697"/>
              <a:gd name="connsiteX11" fmla="*/ 9511311 w 11568987"/>
              <a:gd name="connsiteY11" fmla="*/ 221192 h 1125697"/>
              <a:gd name="connsiteX12" fmla="*/ 9506031 w 11568987"/>
              <a:gd name="connsiteY12" fmla="*/ 195037 h 1125697"/>
              <a:gd name="connsiteX13" fmla="*/ 11568987 w 11568987"/>
              <a:gd name="connsiteY13" fmla="*/ 0 h 1125697"/>
              <a:gd name="connsiteX0" fmla="*/ 11568987 w 11568987"/>
              <a:gd name="connsiteY0" fmla="*/ 0 h 1125697"/>
              <a:gd name="connsiteX1" fmla="*/ 11568987 w 11568987"/>
              <a:gd name="connsiteY1" fmla="*/ 1105538 h 1125697"/>
              <a:gd name="connsiteX2" fmla="*/ 42333 w 11568987"/>
              <a:gd name="connsiteY2" fmla="*/ 1125697 h 1125697"/>
              <a:gd name="connsiteX3" fmla="*/ 0 w 11568987"/>
              <a:gd name="connsiteY3" fmla="*/ 1091576 h 1125697"/>
              <a:gd name="connsiteX4" fmla="*/ 8907725 w 11568987"/>
              <a:gd name="connsiteY4" fmla="*/ 267416 h 1125697"/>
              <a:gd name="connsiteX5" fmla="*/ 8926633 w 11568987"/>
              <a:gd name="connsiteY5" fmla="*/ 361073 h 1125697"/>
              <a:gd name="connsiteX6" fmla="*/ 9115124 w 11568987"/>
              <a:gd name="connsiteY6" fmla="*/ 531970 h 1125697"/>
              <a:gd name="connsiteX7" fmla="*/ 9190469 w 11568987"/>
              <a:gd name="connsiteY7" fmla="*/ 543361 h 1125697"/>
              <a:gd name="connsiteX8" fmla="*/ 9191698 w 11568987"/>
              <a:gd name="connsiteY8" fmla="*/ 521467 h 1125697"/>
              <a:gd name="connsiteX9" fmla="*/ 9209265 w 11568987"/>
              <a:gd name="connsiteY9" fmla="*/ 523238 h 1125697"/>
              <a:gd name="connsiteX10" fmla="*/ 9511311 w 11568987"/>
              <a:gd name="connsiteY10" fmla="*/ 221192 h 1125697"/>
              <a:gd name="connsiteX11" fmla="*/ 9506031 w 11568987"/>
              <a:gd name="connsiteY11" fmla="*/ 195037 h 1125697"/>
              <a:gd name="connsiteX12" fmla="*/ 11568987 w 11568987"/>
              <a:gd name="connsiteY12" fmla="*/ 0 h 1125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68987" h="1125697">
                <a:moveTo>
                  <a:pt x="11568987" y="0"/>
                </a:moveTo>
                <a:lnTo>
                  <a:pt x="11568987" y="1105538"/>
                </a:lnTo>
                <a:lnTo>
                  <a:pt x="42333" y="1125697"/>
                </a:lnTo>
                <a:lnTo>
                  <a:pt x="0" y="1091576"/>
                </a:lnTo>
                <a:lnTo>
                  <a:pt x="8907725" y="267416"/>
                </a:lnTo>
                <a:lnTo>
                  <a:pt x="8926633" y="361073"/>
                </a:lnTo>
                <a:cubicBezTo>
                  <a:pt x="8961023" y="442380"/>
                  <a:pt x="9030002" y="505494"/>
                  <a:pt x="9115124" y="531970"/>
                </a:cubicBezTo>
                <a:lnTo>
                  <a:pt x="9190469" y="543361"/>
                </a:lnTo>
                <a:cubicBezTo>
                  <a:pt x="9190879" y="536063"/>
                  <a:pt x="9191288" y="528765"/>
                  <a:pt x="9191698" y="521467"/>
                </a:cubicBezTo>
                <a:lnTo>
                  <a:pt x="9209265" y="523238"/>
                </a:lnTo>
                <a:cubicBezTo>
                  <a:pt x="9376080" y="523238"/>
                  <a:pt x="9511311" y="388007"/>
                  <a:pt x="9511311" y="221192"/>
                </a:cubicBezTo>
                <a:lnTo>
                  <a:pt x="9506031" y="195037"/>
                </a:lnTo>
                <a:lnTo>
                  <a:pt x="11568987" y="0"/>
                </a:lnTo>
                <a:close/>
              </a:path>
            </a:pathLst>
          </a:custGeom>
          <a:solidFill>
            <a:schemeClr val="bg1">
              <a:alpha val="35000"/>
            </a:schemeClr>
          </a:solidFill>
          <a:ln>
            <a:noFill/>
          </a:ln>
        </p:spPr>
        <p:txBody>
          <a:bodyPr wrap="square" lIns="182854" tIns="146284" rIns="182854" bIns="146284" rtlCol="0">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Segoe UI"/>
              <a:ea typeface="+mn-ea"/>
              <a:cs typeface="+mn-cs"/>
            </a:endParaRPr>
          </a:p>
        </p:txBody>
      </p:sp>
      <p:sp>
        <p:nvSpPr>
          <p:cNvPr id="14" name="Rectangle 13">
            <a:extLst>
              <a:ext uri="{FF2B5EF4-FFF2-40B4-BE49-F238E27FC236}">
                <a16:creationId xmlns:a16="http://schemas.microsoft.com/office/drawing/2014/main" id="{CB7113C0-5254-448D-B4B3-067558DACE5F}"/>
              </a:ext>
              <a:ext uri="{C183D7F6-B498-43B3-948B-1728B52AA6E4}">
                <adec:decorative xmlns:adec="http://schemas.microsoft.com/office/drawing/2017/decorative" val="1"/>
              </a:ext>
            </a:extLst>
          </p:cNvPr>
          <p:cNvSpPr/>
          <p:nvPr userDrawn="1"/>
        </p:nvSpPr>
        <p:spPr bwMode="auto">
          <a:xfrm>
            <a:off x="-13990" y="5485143"/>
            <a:ext cx="12190271" cy="139190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 name="Straight Arrow Connector 14">
            <a:extLst>
              <a:ext uri="{FF2B5EF4-FFF2-40B4-BE49-F238E27FC236}">
                <a16:creationId xmlns:a16="http://schemas.microsoft.com/office/drawing/2014/main" id="{99AC0CA1-E339-4C6A-8E4A-873C4AC8361A}"/>
              </a:ext>
              <a:ext uri="{C183D7F6-B498-43B3-948B-1728B52AA6E4}">
                <adec:decorative xmlns:adec="http://schemas.microsoft.com/office/drawing/2017/decorative" val="1"/>
              </a:ext>
            </a:extLst>
          </p:cNvPr>
          <p:cNvCxnSpPr/>
          <p:nvPr userDrawn="1"/>
        </p:nvCxnSpPr>
        <p:spPr>
          <a:xfrm flipV="1">
            <a:off x="865" y="5467208"/>
            <a:ext cx="11922963" cy="13222"/>
          </a:xfrm>
          <a:prstGeom prst="straightConnector1">
            <a:avLst/>
          </a:prstGeom>
          <a:ln w="19050">
            <a:solidFill>
              <a:schemeClr val="bg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D208F1AB-1DF0-4EEA-A1B7-B3AC6A509DFB}"/>
              </a:ext>
              <a:ext uri="{C183D7F6-B498-43B3-948B-1728B52AA6E4}">
                <adec:decorative xmlns:adec="http://schemas.microsoft.com/office/drawing/2017/decorative" val="1"/>
              </a:ext>
            </a:extLst>
          </p:cNvPr>
          <p:cNvSpPr/>
          <p:nvPr userDrawn="1"/>
        </p:nvSpPr>
        <p:spPr bwMode="auto">
          <a:xfrm>
            <a:off x="9733805" y="5382067"/>
            <a:ext cx="182854" cy="182854"/>
          </a:xfrm>
          <a:prstGeom prst="ellipse">
            <a:avLst/>
          </a:prstGeom>
          <a:solidFill>
            <a:srgbClr val="0078D7"/>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7" name="Straight Connector 16">
            <a:extLst>
              <a:ext uri="{FF2B5EF4-FFF2-40B4-BE49-F238E27FC236}">
                <a16:creationId xmlns:a16="http://schemas.microsoft.com/office/drawing/2014/main" id="{8F3E819F-7E92-4E75-8ADE-B602FEB3A69C}"/>
              </a:ext>
              <a:ext uri="{C183D7F6-B498-43B3-948B-1728B52AA6E4}">
                <adec:decorative xmlns:adec="http://schemas.microsoft.com/office/drawing/2017/decorative" val="1"/>
              </a:ext>
            </a:extLst>
          </p:cNvPr>
          <p:cNvCxnSpPr/>
          <p:nvPr userDrawn="1"/>
        </p:nvCxnSpPr>
        <p:spPr>
          <a:xfrm>
            <a:off x="2685497" y="5657899"/>
            <a:ext cx="0" cy="365708"/>
          </a:xfrm>
          <a:prstGeom prst="line">
            <a:avLst/>
          </a:prstGeom>
          <a:noFill/>
          <a:ln w="19050" cap="flat" cmpd="sng" algn="ctr">
            <a:solidFill>
              <a:schemeClr val="bg2"/>
            </a:solidFill>
            <a:prstDash val="solid"/>
            <a:headEnd type="none"/>
            <a:tailEnd type="none"/>
          </a:ln>
          <a:effectLst/>
        </p:spPr>
      </p:cxnSp>
      <p:cxnSp>
        <p:nvCxnSpPr>
          <p:cNvPr id="18" name="Straight Connector 17">
            <a:extLst>
              <a:ext uri="{FF2B5EF4-FFF2-40B4-BE49-F238E27FC236}">
                <a16:creationId xmlns:a16="http://schemas.microsoft.com/office/drawing/2014/main" id="{C8D6B3D4-6C58-4573-A957-44DE42705BF2}"/>
              </a:ext>
              <a:ext uri="{C183D7F6-B498-43B3-948B-1728B52AA6E4}">
                <adec:decorative xmlns:adec="http://schemas.microsoft.com/office/drawing/2017/decorative" val="1"/>
              </a:ext>
            </a:extLst>
          </p:cNvPr>
          <p:cNvCxnSpPr/>
          <p:nvPr userDrawn="1"/>
        </p:nvCxnSpPr>
        <p:spPr>
          <a:xfrm>
            <a:off x="9831411" y="5657899"/>
            <a:ext cx="0" cy="365708"/>
          </a:xfrm>
          <a:prstGeom prst="line">
            <a:avLst/>
          </a:prstGeom>
          <a:noFill/>
          <a:ln w="19050" cap="flat" cmpd="sng" algn="ctr">
            <a:solidFill>
              <a:schemeClr val="bg2"/>
            </a:solidFill>
            <a:prstDash val="solid"/>
            <a:headEnd type="none"/>
            <a:tailEnd type="none"/>
          </a:ln>
          <a:effectLst/>
        </p:spPr>
      </p:cxnSp>
      <p:sp>
        <p:nvSpPr>
          <p:cNvPr id="19" name="Oval 18">
            <a:extLst>
              <a:ext uri="{FF2B5EF4-FFF2-40B4-BE49-F238E27FC236}">
                <a16:creationId xmlns:a16="http://schemas.microsoft.com/office/drawing/2014/main" id="{6ABBC32E-233A-4AAF-8C23-24093848D82D}"/>
              </a:ext>
              <a:ext uri="{C183D7F6-B498-43B3-948B-1728B52AA6E4}">
                <adec:decorative xmlns:adec="http://schemas.microsoft.com/office/drawing/2017/decorative" val="1"/>
              </a:ext>
            </a:extLst>
          </p:cNvPr>
          <p:cNvSpPr/>
          <p:nvPr userDrawn="1"/>
        </p:nvSpPr>
        <p:spPr bwMode="auto">
          <a:xfrm>
            <a:off x="2586824" y="5382067"/>
            <a:ext cx="182854" cy="182854"/>
          </a:xfrm>
          <a:prstGeom prst="ellipse">
            <a:avLst/>
          </a:prstGeom>
          <a:solidFill>
            <a:srgbClr val="0078D7"/>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0" name="Straight Arrow Connector 19">
            <a:extLst>
              <a:ext uri="{FF2B5EF4-FFF2-40B4-BE49-F238E27FC236}">
                <a16:creationId xmlns:a16="http://schemas.microsoft.com/office/drawing/2014/main" id="{D9CD2C44-267E-41EE-BD98-0FC88AC83D17}"/>
              </a:ext>
              <a:ext uri="{C183D7F6-B498-43B3-948B-1728B52AA6E4}">
                <adec:decorative xmlns:adec="http://schemas.microsoft.com/office/drawing/2017/decorative" val="1"/>
              </a:ext>
            </a:extLst>
          </p:cNvPr>
          <p:cNvCxnSpPr/>
          <p:nvPr userDrawn="1"/>
        </p:nvCxnSpPr>
        <p:spPr>
          <a:xfrm flipV="1">
            <a:off x="583881" y="4632438"/>
            <a:ext cx="8947598" cy="841057"/>
          </a:xfrm>
          <a:prstGeom prst="straightConnector1">
            <a:avLst/>
          </a:prstGeom>
          <a:ln w="1905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E6A2523E-DB8F-400E-BE0E-6AD1D98D4623}"/>
              </a:ext>
              <a:ext uri="{C183D7F6-B498-43B3-948B-1728B52AA6E4}">
                <adec:decorative xmlns:adec="http://schemas.microsoft.com/office/drawing/2017/decorative" val="1"/>
              </a:ext>
            </a:extLst>
          </p:cNvPr>
          <p:cNvSpPr/>
          <p:nvPr userDrawn="1"/>
        </p:nvSpPr>
        <p:spPr bwMode="auto">
          <a:xfrm>
            <a:off x="9529746" y="4304376"/>
            <a:ext cx="604005" cy="604005"/>
          </a:xfrm>
          <a:prstGeom prst="ellipse">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2" name="Straight Connector 21">
            <a:extLst>
              <a:ext uri="{FF2B5EF4-FFF2-40B4-BE49-F238E27FC236}">
                <a16:creationId xmlns:a16="http://schemas.microsoft.com/office/drawing/2014/main" id="{14658AA5-3A2F-4634-BDA8-2BEAA95FA277}"/>
              </a:ext>
              <a:ext uri="{C183D7F6-B498-43B3-948B-1728B52AA6E4}">
                <adec:decorative xmlns:adec="http://schemas.microsoft.com/office/drawing/2017/decorative" val="1"/>
              </a:ext>
            </a:extLst>
          </p:cNvPr>
          <p:cNvCxnSpPr/>
          <p:nvPr userDrawn="1"/>
        </p:nvCxnSpPr>
        <p:spPr>
          <a:xfrm>
            <a:off x="6274913" y="5657899"/>
            <a:ext cx="0" cy="365708"/>
          </a:xfrm>
          <a:prstGeom prst="line">
            <a:avLst/>
          </a:prstGeom>
          <a:noFill/>
          <a:ln w="19050" cap="flat" cmpd="sng" algn="ctr">
            <a:solidFill>
              <a:schemeClr val="bg2"/>
            </a:solidFill>
            <a:prstDash val="solid"/>
            <a:headEnd type="none"/>
            <a:tailEnd type="none"/>
          </a:ln>
          <a:effectLst/>
        </p:spPr>
      </p:cxnSp>
      <p:sp>
        <p:nvSpPr>
          <p:cNvPr id="23" name="Oval 22">
            <a:extLst>
              <a:ext uri="{FF2B5EF4-FFF2-40B4-BE49-F238E27FC236}">
                <a16:creationId xmlns:a16="http://schemas.microsoft.com/office/drawing/2014/main" id="{7633269F-9CFB-4C32-A579-121F1BC7FEE3}"/>
              </a:ext>
              <a:ext uri="{C183D7F6-B498-43B3-948B-1728B52AA6E4}">
                <adec:decorative xmlns:adec="http://schemas.microsoft.com/office/drawing/2017/decorative" val="1"/>
              </a:ext>
            </a:extLst>
          </p:cNvPr>
          <p:cNvSpPr/>
          <p:nvPr userDrawn="1"/>
        </p:nvSpPr>
        <p:spPr bwMode="auto">
          <a:xfrm>
            <a:off x="6176240" y="5382067"/>
            <a:ext cx="182854" cy="182854"/>
          </a:xfrm>
          <a:prstGeom prst="ellipse">
            <a:avLst/>
          </a:prstGeom>
          <a:solidFill>
            <a:srgbClr val="0078D7"/>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E6BCF4BD-296B-404E-A0DC-A95DC9E7F5B0}"/>
              </a:ext>
              <a:ext uri="{C183D7F6-B498-43B3-948B-1728B52AA6E4}">
                <adec:decorative xmlns:adec="http://schemas.microsoft.com/office/drawing/2017/decorative" val="1"/>
              </a:ext>
            </a:extLst>
          </p:cNvPr>
          <p:cNvGrpSpPr/>
          <p:nvPr userDrawn="1"/>
        </p:nvGrpSpPr>
        <p:grpSpPr>
          <a:xfrm>
            <a:off x="9526335" y="4300526"/>
            <a:ext cx="617942" cy="617942"/>
            <a:chOff x="2750671" y="2758885"/>
            <a:chExt cx="617942" cy="617942"/>
          </a:xfrm>
        </p:grpSpPr>
        <p:sp>
          <p:nvSpPr>
            <p:cNvPr id="25" name="Oval 24">
              <a:extLst>
                <a:ext uri="{FF2B5EF4-FFF2-40B4-BE49-F238E27FC236}">
                  <a16:creationId xmlns:a16="http://schemas.microsoft.com/office/drawing/2014/main" id="{DD46AADA-6133-4A00-92E7-D6C9C6CBBADE}"/>
                </a:ext>
              </a:extLst>
            </p:cNvPr>
            <p:cNvSpPr/>
            <p:nvPr/>
          </p:nvSpPr>
          <p:spPr bwMode="auto">
            <a:xfrm>
              <a:off x="2750671" y="2758885"/>
              <a:ext cx="617942" cy="617942"/>
            </a:xfrm>
            <a:prstGeom prst="ellipse">
              <a:avLst/>
            </a:prstGeom>
            <a:solidFill>
              <a:srgbClr val="000C47"/>
            </a:solidFill>
            <a:ln w="539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mn-cs"/>
              </a:endParaRPr>
            </a:p>
          </p:txBody>
        </p:sp>
        <p:sp>
          <p:nvSpPr>
            <p:cNvPr id="26" name="Freeform 5">
              <a:extLst>
                <a:ext uri="{FF2B5EF4-FFF2-40B4-BE49-F238E27FC236}">
                  <a16:creationId xmlns:a16="http://schemas.microsoft.com/office/drawing/2014/main" id="{B049B63A-5A58-429F-B2C4-59E4CFDCE2AE}"/>
                </a:ext>
              </a:extLst>
            </p:cNvPr>
            <p:cNvSpPr>
              <a:spLocks/>
            </p:cNvSpPr>
            <p:nvPr/>
          </p:nvSpPr>
          <p:spPr bwMode="auto">
            <a:xfrm>
              <a:off x="3067502" y="2876550"/>
              <a:ext cx="188647" cy="226922"/>
            </a:xfrm>
            <a:custGeom>
              <a:avLst/>
              <a:gdLst>
                <a:gd name="T0" fmla="*/ 0 w 133"/>
                <a:gd name="T1" fmla="*/ 160 h 160"/>
                <a:gd name="T2" fmla="*/ 133 w 133"/>
                <a:gd name="T3" fmla="*/ 160 h 160"/>
                <a:gd name="T4" fmla="*/ 83 w 133"/>
                <a:gd name="T5" fmla="*/ 96 h 160"/>
                <a:gd name="T6" fmla="*/ 116 w 133"/>
                <a:gd name="T7" fmla="*/ 49 h 160"/>
                <a:gd name="T8" fmla="*/ 67 w 133"/>
                <a:gd name="T9" fmla="*/ 0 h 160"/>
                <a:gd name="T10" fmla="*/ 17 w 133"/>
                <a:gd name="T11" fmla="*/ 49 h 160"/>
                <a:gd name="T12" fmla="*/ 50 w 133"/>
                <a:gd name="T13" fmla="*/ 96 h 160"/>
                <a:gd name="T14" fmla="*/ 0 w 133"/>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3" h="160">
                  <a:moveTo>
                    <a:pt x="0" y="160"/>
                  </a:moveTo>
                  <a:cubicBezTo>
                    <a:pt x="133" y="160"/>
                    <a:pt x="133" y="160"/>
                    <a:pt x="133" y="160"/>
                  </a:cubicBezTo>
                  <a:cubicBezTo>
                    <a:pt x="133" y="129"/>
                    <a:pt x="112" y="103"/>
                    <a:pt x="83" y="96"/>
                  </a:cubicBezTo>
                  <a:cubicBezTo>
                    <a:pt x="102" y="89"/>
                    <a:pt x="116" y="71"/>
                    <a:pt x="116" y="49"/>
                  </a:cubicBezTo>
                  <a:cubicBezTo>
                    <a:pt x="116" y="22"/>
                    <a:pt x="94" y="0"/>
                    <a:pt x="67" y="0"/>
                  </a:cubicBezTo>
                  <a:cubicBezTo>
                    <a:pt x="40" y="0"/>
                    <a:pt x="17" y="22"/>
                    <a:pt x="17" y="49"/>
                  </a:cubicBezTo>
                  <a:cubicBezTo>
                    <a:pt x="17" y="71"/>
                    <a:pt x="31" y="89"/>
                    <a:pt x="50" y="96"/>
                  </a:cubicBezTo>
                  <a:cubicBezTo>
                    <a:pt x="22" y="103"/>
                    <a:pt x="0" y="129"/>
                    <a:pt x="0" y="160"/>
                  </a:cubicBezTo>
                  <a:close/>
                </a:path>
              </a:pathLst>
            </a:custGeom>
            <a:solidFill>
              <a:srgbClr val="6C85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sp>
          <p:nvSpPr>
            <p:cNvPr id="27" name="Freeform 6">
              <a:extLst>
                <a:ext uri="{FF2B5EF4-FFF2-40B4-BE49-F238E27FC236}">
                  <a16:creationId xmlns:a16="http://schemas.microsoft.com/office/drawing/2014/main" id="{BF8376BA-C4E3-4B2E-BE41-ECDB997C4E77}"/>
                </a:ext>
              </a:extLst>
            </p:cNvPr>
            <p:cNvSpPr>
              <a:spLocks/>
            </p:cNvSpPr>
            <p:nvPr/>
          </p:nvSpPr>
          <p:spPr bwMode="auto">
            <a:xfrm>
              <a:off x="2863135" y="2927129"/>
              <a:ext cx="146953" cy="176343"/>
            </a:xfrm>
            <a:custGeom>
              <a:avLst/>
              <a:gdLst>
                <a:gd name="T0" fmla="*/ 0 w 121"/>
                <a:gd name="T1" fmla="*/ 145 h 145"/>
                <a:gd name="T2" fmla="*/ 121 w 121"/>
                <a:gd name="T3" fmla="*/ 145 h 145"/>
                <a:gd name="T4" fmla="*/ 75 w 121"/>
                <a:gd name="T5" fmla="*/ 87 h 145"/>
                <a:gd name="T6" fmla="*/ 105 w 121"/>
                <a:gd name="T7" fmla="*/ 44 h 145"/>
                <a:gd name="T8" fmla="*/ 61 w 121"/>
                <a:gd name="T9" fmla="*/ 0 h 145"/>
                <a:gd name="T10" fmla="*/ 16 w 121"/>
                <a:gd name="T11" fmla="*/ 44 h 145"/>
                <a:gd name="T12" fmla="*/ 46 w 121"/>
                <a:gd name="T13" fmla="*/ 87 h 145"/>
                <a:gd name="T14" fmla="*/ 0 w 121"/>
                <a:gd name="T15" fmla="*/ 145 h 1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145">
                  <a:moveTo>
                    <a:pt x="0" y="145"/>
                  </a:moveTo>
                  <a:cubicBezTo>
                    <a:pt x="121" y="145"/>
                    <a:pt x="121" y="145"/>
                    <a:pt x="121" y="145"/>
                  </a:cubicBezTo>
                  <a:cubicBezTo>
                    <a:pt x="121" y="117"/>
                    <a:pt x="101" y="93"/>
                    <a:pt x="75" y="87"/>
                  </a:cubicBezTo>
                  <a:cubicBezTo>
                    <a:pt x="93" y="81"/>
                    <a:pt x="105" y="64"/>
                    <a:pt x="105" y="44"/>
                  </a:cubicBezTo>
                  <a:cubicBezTo>
                    <a:pt x="105" y="20"/>
                    <a:pt x="85" y="0"/>
                    <a:pt x="61" y="0"/>
                  </a:cubicBezTo>
                  <a:cubicBezTo>
                    <a:pt x="36" y="0"/>
                    <a:pt x="16" y="20"/>
                    <a:pt x="16" y="44"/>
                  </a:cubicBezTo>
                  <a:cubicBezTo>
                    <a:pt x="16" y="64"/>
                    <a:pt x="28" y="81"/>
                    <a:pt x="46" y="87"/>
                  </a:cubicBezTo>
                  <a:cubicBezTo>
                    <a:pt x="20" y="93"/>
                    <a:pt x="0" y="117"/>
                    <a:pt x="0" y="145"/>
                  </a:cubicBezTo>
                  <a:close/>
                </a:path>
              </a:pathLst>
            </a:custGeom>
            <a:solidFill>
              <a:srgbClr val="B6C2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sp>
          <p:nvSpPr>
            <p:cNvPr id="28" name="Oval 27">
              <a:extLst>
                <a:ext uri="{FF2B5EF4-FFF2-40B4-BE49-F238E27FC236}">
                  <a16:creationId xmlns:a16="http://schemas.microsoft.com/office/drawing/2014/main" id="{C4EBC8E1-0A42-4AA5-A74A-F89615627A58}"/>
                </a:ext>
              </a:extLst>
            </p:cNvPr>
            <p:cNvSpPr/>
            <p:nvPr/>
          </p:nvSpPr>
          <p:spPr bwMode="auto">
            <a:xfrm>
              <a:off x="2750671" y="2758885"/>
              <a:ext cx="617942" cy="617942"/>
            </a:xfrm>
            <a:prstGeom prst="ellipse">
              <a:avLst/>
            </a:prstGeom>
            <a:noFill/>
            <a:ln w="317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mn-cs"/>
              </a:endParaRPr>
            </a:p>
          </p:txBody>
        </p:sp>
        <p:sp>
          <p:nvSpPr>
            <p:cNvPr id="29" name="Freeform 7">
              <a:extLst>
                <a:ext uri="{FF2B5EF4-FFF2-40B4-BE49-F238E27FC236}">
                  <a16:creationId xmlns:a16="http://schemas.microsoft.com/office/drawing/2014/main" id="{73A947A0-7331-47EB-92BC-2B0CB790271C}"/>
                </a:ext>
              </a:extLst>
            </p:cNvPr>
            <p:cNvSpPr>
              <a:spLocks/>
            </p:cNvSpPr>
            <p:nvPr/>
          </p:nvSpPr>
          <p:spPr bwMode="auto">
            <a:xfrm>
              <a:off x="2936270" y="2996163"/>
              <a:ext cx="235125" cy="282969"/>
            </a:xfrm>
            <a:custGeom>
              <a:avLst/>
              <a:gdLst>
                <a:gd name="T0" fmla="*/ 0 w 133"/>
                <a:gd name="T1" fmla="*/ 160 h 160"/>
                <a:gd name="T2" fmla="*/ 133 w 133"/>
                <a:gd name="T3" fmla="*/ 160 h 160"/>
                <a:gd name="T4" fmla="*/ 83 w 133"/>
                <a:gd name="T5" fmla="*/ 96 h 160"/>
                <a:gd name="T6" fmla="*/ 116 w 133"/>
                <a:gd name="T7" fmla="*/ 49 h 160"/>
                <a:gd name="T8" fmla="*/ 67 w 133"/>
                <a:gd name="T9" fmla="*/ 0 h 160"/>
                <a:gd name="T10" fmla="*/ 17 w 133"/>
                <a:gd name="T11" fmla="*/ 49 h 160"/>
                <a:gd name="T12" fmla="*/ 50 w 133"/>
                <a:gd name="T13" fmla="*/ 96 h 160"/>
                <a:gd name="T14" fmla="*/ 0 w 133"/>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3" h="160">
                  <a:moveTo>
                    <a:pt x="0" y="160"/>
                  </a:moveTo>
                  <a:cubicBezTo>
                    <a:pt x="133" y="160"/>
                    <a:pt x="133" y="160"/>
                    <a:pt x="133" y="160"/>
                  </a:cubicBezTo>
                  <a:cubicBezTo>
                    <a:pt x="133" y="129"/>
                    <a:pt x="112" y="103"/>
                    <a:pt x="83" y="96"/>
                  </a:cubicBezTo>
                  <a:cubicBezTo>
                    <a:pt x="102" y="89"/>
                    <a:pt x="116" y="71"/>
                    <a:pt x="116" y="49"/>
                  </a:cubicBezTo>
                  <a:cubicBezTo>
                    <a:pt x="116" y="22"/>
                    <a:pt x="94" y="0"/>
                    <a:pt x="67" y="0"/>
                  </a:cubicBezTo>
                  <a:cubicBezTo>
                    <a:pt x="39" y="0"/>
                    <a:pt x="17" y="22"/>
                    <a:pt x="17" y="49"/>
                  </a:cubicBezTo>
                  <a:cubicBezTo>
                    <a:pt x="17" y="71"/>
                    <a:pt x="31" y="89"/>
                    <a:pt x="50" y="96"/>
                  </a:cubicBezTo>
                  <a:cubicBezTo>
                    <a:pt x="21" y="103"/>
                    <a:pt x="0" y="129"/>
                    <a:pt x="0" y="160"/>
                  </a:cubicBezTo>
                  <a:close/>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grpSp>
      <p:grpSp>
        <p:nvGrpSpPr>
          <p:cNvPr id="30" name="Group 29" descr="Icon of a person with one arm" title="One Arm">
            <a:extLst>
              <a:ext uri="{FF2B5EF4-FFF2-40B4-BE49-F238E27FC236}">
                <a16:creationId xmlns:a16="http://schemas.microsoft.com/office/drawing/2014/main" id="{D1AE60BE-1407-4D68-9AD0-0703C560698E}"/>
              </a:ext>
            </a:extLst>
          </p:cNvPr>
          <p:cNvGrpSpPr>
            <a:grpSpLocks noChangeAspect="1"/>
          </p:cNvGrpSpPr>
          <p:nvPr userDrawn="1"/>
        </p:nvGrpSpPr>
        <p:grpSpPr>
          <a:xfrm>
            <a:off x="1472381" y="5694330"/>
            <a:ext cx="371735" cy="914400"/>
            <a:chOff x="2460424" y="1681878"/>
            <a:chExt cx="927100" cy="2277610"/>
          </a:xfrm>
          <a:solidFill>
            <a:schemeClr val="bg1"/>
          </a:solidFill>
        </p:grpSpPr>
        <p:sp>
          <p:nvSpPr>
            <p:cNvPr id="31" name="object 11">
              <a:extLst>
                <a:ext uri="{FF2B5EF4-FFF2-40B4-BE49-F238E27FC236}">
                  <a16:creationId xmlns:a16="http://schemas.microsoft.com/office/drawing/2014/main" id="{4F69F728-6C07-497D-A926-30EA5D21850D}"/>
                </a:ext>
              </a:extLst>
            </p:cNvPr>
            <p:cNvSpPr/>
            <p:nvPr/>
          </p:nvSpPr>
          <p:spPr>
            <a:xfrm>
              <a:off x="2460424" y="1681878"/>
              <a:ext cx="927100" cy="1621791"/>
            </a:xfrm>
            <a:custGeom>
              <a:avLst/>
              <a:gdLst/>
              <a:ahLst/>
              <a:cxnLst/>
              <a:rect l="l" t="t" r="r" b="b"/>
              <a:pathLst>
                <a:path w="927100" h="1621789">
                  <a:moveTo>
                    <a:pt x="482531" y="0"/>
                  </a:moveTo>
                  <a:lnTo>
                    <a:pt x="434669" y="2467"/>
                  </a:lnTo>
                  <a:lnTo>
                    <a:pt x="388551" y="10502"/>
                  </a:lnTo>
                  <a:lnTo>
                    <a:pt x="344514" y="23781"/>
                  </a:lnTo>
                  <a:lnTo>
                    <a:pt x="302898" y="41980"/>
                  </a:lnTo>
                  <a:lnTo>
                    <a:pt x="264039" y="64775"/>
                  </a:lnTo>
                  <a:lnTo>
                    <a:pt x="228276" y="91841"/>
                  </a:lnTo>
                  <a:lnTo>
                    <a:pt x="195947" y="122855"/>
                  </a:lnTo>
                  <a:lnTo>
                    <a:pt x="167389" y="157492"/>
                  </a:lnTo>
                  <a:lnTo>
                    <a:pt x="142942" y="195428"/>
                  </a:lnTo>
                  <a:lnTo>
                    <a:pt x="122942" y="236340"/>
                  </a:lnTo>
                  <a:lnTo>
                    <a:pt x="107728" y="279903"/>
                  </a:lnTo>
                  <a:lnTo>
                    <a:pt x="97638" y="325792"/>
                  </a:lnTo>
                  <a:lnTo>
                    <a:pt x="93010" y="373684"/>
                  </a:lnTo>
                  <a:lnTo>
                    <a:pt x="90632" y="412950"/>
                  </a:lnTo>
                  <a:lnTo>
                    <a:pt x="83280" y="434870"/>
                  </a:lnTo>
                  <a:lnTo>
                    <a:pt x="65047" y="447394"/>
                  </a:lnTo>
                  <a:lnTo>
                    <a:pt x="30030" y="458469"/>
                  </a:lnTo>
                  <a:lnTo>
                    <a:pt x="30667" y="509689"/>
                  </a:lnTo>
                  <a:lnTo>
                    <a:pt x="42062" y="558022"/>
                  </a:lnTo>
                  <a:lnTo>
                    <a:pt x="63115" y="601956"/>
                  </a:lnTo>
                  <a:lnTo>
                    <a:pt x="92685" y="639814"/>
                  </a:lnTo>
                  <a:lnTo>
                    <a:pt x="129643" y="669958"/>
                  </a:lnTo>
                  <a:lnTo>
                    <a:pt x="172859" y="690751"/>
                  </a:lnTo>
                  <a:lnTo>
                    <a:pt x="221203" y="700557"/>
                  </a:lnTo>
                  <a:lnTo>
                    <a:pt x="253925" y="707931"/>
                  </a:lnTo>
                  <a:lnTo>
                    <a:pt x="281274" y="722510"/>
                  </a:lnTo>
                  <a:lnTo>
                    <a:pt x="333649" y="760590"/>
                  </a:lnTo>
                  <a:lnTo>
                    <a:pt x="305608" y="773226"/>
                  </a:lnTo>
                  <a:lnTo>
                    <a:pt x="256917" y="796978"/>
                  </a:lnTo>
                  <a:lnTo>
                    <a:pt x="212210" y="823630"/>
                  </a:lnTo>
                  <a:lnTo>
                    <a:pt x="171572" y="853215"/>
                  </a:lnTo>
                  <a:lnTo>
                    <a:pt x="135091" y="885765"/>
                  </a:lnTo>
                  <a:lnTo>
                    <a:pt x="102854" y="921313"/>
                  </a:lnTo>
                  <a:lnTo>
                    <a:pt x="74950" y="959892"/>
                  </a:lnTo>
                  <a:lnTo>
                    <a:pt x="51464" y="1001535"/>
                  </a:lnTo>
                  <a:lnTo>
                    <a:pt x="32485" y="1046275"/>
                  </a:lnTo>
                  <a:lnTo>
                    <a:pt x="18100" y="1094144"/>
                  </a:lnTo>
                  <a:lnTo>
                    <a:pt x="8397" y="1145175"/>
                  </a:lnTo>
                  <a:lnTo>
                    <a:pt x="3462" y="1199400"/>
                  </a:lnTo>
                  <a:lnTo>
                    <a:pt x="1616" y="1249884"/>
                  </a:lnTo>
                  <a:lnTo>
                    <a:pt x="533" y="1300403"/>
                  </a:lnTo>
                  <a:lnTo>
                    <a:pt x="49" y="1350949"/>
                  </a:lnTo>
                  <a:lnTo>
                    <a:pt x="0" y="1401514"/>
                  </a:lnTo>
                  <a:lnTo>
                    <a:pt x="221" y="1452092"/>
                  </a:lnTo>
                  <a:lnTo>
                    <a:pt x="549" y="1502674"/>
                  </a:lnTo>
                  <a:lnTo>
                    <a:pt x="820" y="1553252"/>
                  </a:lnTo>
                  <a:lnTo>
                    <a:pt x="858" y="1610017"/>
                  </a:lnTo>
                  <a:lnTo>
                    <a:pt x="3944" y="1616227"/>
                  </a:lnTo>
                  <a:lnTo>
                    <a:pt x="5341" y="1621523"/>
                  </a:lnTo>
                  <a:lnTo>
                    <a:pt x="56688" y="1621523"/>
                  </a:lnTo>
                  <a:lnTo>
                    <a:pt x="56581" y="1553252"/>
                  </a:lnTo>
                  <a:lnTo>
                    <a:pt x="56444" y="1502674"/>
                  </a:lnTo>
                  <a:lnTo>
                    <a:pt x="56436" y="1350949"/>
                  </a:lnTo>
                  <a:lnTo>
                    <a:pt x="56692" y="1310120"/>
                  </a:lnTo>
                  <a:lnTo>
                    <a:pt x="57323" y="1258760"/>
                  </a:lnTo>
                  <a:lnTo>
                    <a:pt x="60615" y="1188058"/>
                  </a:lnTo>
                  <a:lnTo>
                    <a:pt x="71470" y="1118527"/>
                  </a:lnTo>
                  <a:lnTo>
                    <a:pt x="84858" y="1072886"/>
                  </a:lnTo>
                  <a:lnTo>
                    <a:pt x="102467" y="1030417"/>
                  </a:lnTo>
                  <a:lnTo>
                    <a:pt x="124286" y="991081"/>
                  </a:lnTo>
                  <a:lnTo>
                    <a:pt x="150306" y="954839"/>
                  </a:lnTo>
                  <a:lnTo>
                    <a:pt x="180513" y="921655"/>
                  </a:lnTo>
                  <a:lnTo>
                    <a:pt x="214899" y="891488"/>
                  </a:lnTo>
                  <a:lnTo>
                    <a:pt x="253451" y="864300"/>
                  </a:lnTo>
                  <a:lnTo>
                    <a:pt x="296159" y="840054"/>
                  </a:lnTo>
                  <a:lnTo>
                    <a:pt x="356966" y="840054"/>
                  </a:lnTo>
                  <a:lnTo>
                    <a:pt x="355943" y="832964"/>
                  </a:lnTo>
                  <a:lnTo>
                    <a:pt x="358286" y="821967"/>
                  </a:lnTo>
                  <a:lnTo>
                    <a:pt x="365922" y="814407"/>
                  </a:lnTo>
                  <a:lnTo>
                    <a:pt x="379712" y="810234"/>
                  </a:lnTo>
                  <a:lnTo>
                    <a:pt x="475318" y="796289"/>
                  </a:lnTo>
                  <a:lnTo>
                    <a:pt x="697601" y="796289"/>
                  </a:lnTo>
                  <a:lnTo>
                    <a:pt x="673647" y="784351"/>
                  </a:lnTo>
                  <a:lnTo>
                    <a:pt x="621571" y="759561"/>
                  </a:lnTo>
                  <a:lnTo>
                    <a:pt x="648831" y="739600"/>
                  </a:lnTo>
                  <a:lnTo>
                    <a:pt x="653878" y="736104"/>
                  </a:lnTo>
                  <a:lnTo>
                    <a:pt x="473756" y="736104"/>
                  </a:lnTo>
                  <a:lnTo>
                    <a:pt x="426401" y="730824"/>
                  </a:lnTo>
                  <a:lnTo>
                    <a:pt x="381928" y="716710"/>
                  </a:lnTo>
                  <a:lnTo>
                    <a:pt x="341413" y="694796"/>
                  </a:lnTo>
                  <a:lnTo>
                    <a:pt x="305936" y="666114"/>
                  </a:lnTo>
                  <a:lnTo>
                    <a:pt x="279089" y="634644"/>
                  </a:lnTo>
                  <a:lnTo>
                    <a:pt x="201074" y="634644"/>
                  </a:lnTo>
                  <a:lnTo>
                    <a:pt x="164435" y="622398"/>
                  </a:lnTo>
                  <a:lnTo>
                    <a:pt x="128174" y="594229"/>
                  </a:lnTo>
                  <a:lnTo>
                    <a:pt x="100274" y="557131"/>
                  </a:lnTo>
                  <a:lnTo>
                    <a:pt x="88717" y="518096"/>
                  </a:lnTo>
                  <a:lnTo>
                    <a:pt x="88590" y="511505"/>
                  </a:lnTo>
                  <a:lnTo>
                    <a:pt x="92933" y="501599"/>
                  </a:lnTo>
                  <a:lnTo>
                    <a:pt x="98242" y="498601"/>
                  </a:lnTo>
                  <a:lnTo>
                    <a:pt x="125456" y="476128"/>
                  </a:lnTo>
                  <a:lnTo>
                    <a:pt x="140589" y="448552"/>
                  </a:lnTo>
                  <a:lnTo>
                    <a:pt x="147346" y="417207"/>
                  </a:lnTo>
                  <a:lnTo>
                    <a:pt x="149436" y="383425"/>
                  </a:lnTo>
                  <a:lnTo>
                    <a:pt x="153940" y="336348"/>
                  </a:lnTo>
                  <a:lnTo>
                    <a:pt x="164443" y="291302"/>
                  </a:lnTo>
                  <a:lnTo>
                    <a:pt x="180574" y="248774"/>
                  </a:lnTo>
                  <a:lnTo>
                    <a:pt x="201961" y="209253"/>
                  </a:lnTo>
                  <a:lnTo>
                    <a:pt x="228231" y="173227"/>
                  </a:lnTo>
                  <a:lnTo>
                    <a:pt x="259047" y="141156"/>
                  </a:lnTo>
                  <a:lnTo>
                    <a:pt x="293935" y="113609"/>
                  </a:lnTo>
                  <a:lnTo>
                    <a:pt x="332624" y="90994"/>
                  </a:lnTo>
                  <a:lnTo>
                    <a:pt x="374708" y="73825"/>
                  </a:lnTo>
                  <a:lnTo>
                    <a:pt x="419097" y="62542"/>
                  </a:lnTo>
                  <a:lnTo>
                    <a:pt x="463232" y="57511"/>
                  </a:lnTo>
                  <a:lnTo>
                    <a:pt x="679776" y="57511"/>
                  </a:lnTo>
                  <a:lnTo>
                    <a:pt x="660372" y="45525"/>
                  </a:lnTo>
                  <a:lnTo>
                    <a:pt x="619266" y="26435"/>
                  </a:lnTo>
                  <a:lnTo>
                    <a:pt x="575698" y="12258"/>
                  </a:lnTo>
                  <a:lnTo>
                    <a:pt x="530007" y="3333"/>
                  </a:lnTo>
                  <a:lnTo>
                    <a:pt x="482531" y="0"/>
                  </a:lnTo>
                  <a:close/>
                </a:path>
                <a:path w="927100" h="1621789">
                  <a:moveTo>
                    <a:pt x="356966" y="840054"/>
                  </a:moveTo>
                  <a:lnTo>
                    <a:pt x="296159" y="840054"/>
                  </a:lnTo>
                  <a:lnTo>
                    <a:pt x="314424" y="893322"/>
                  </a:lnTo>
                  <a:lnTo>
                    <a:pt x="340977" y="936678"/>
                  </a:lnTo>
                  <a:lnTo>
                    <a:pt x="376175" y="969117"/>
                  </a:lnTo>
                  <a:lnTo>
                    <a:pt x="420379" y="989631"/>
                  </a:lnTo>
                  <a:lnTo>
                    <a:pt x="473946" y="997216"/>
                  </a:lnTo>
                  <a:lnTo>
                    <a:pt x="520870" y="992716"/>
                  </a:lnTo>
                  <a:lnTo>
                    <a:pt x="560867" y="978359"/>
                  </a:lnTo>
                  <a:lnTo>
                    <a:pt x="594331" y="954839"/>
                  </a:lnTo>
                  <a:lnTo>
                    <a:pt x="606463" y="940638"/>
                  </a:lnTo>
                  <a:lnTo>
                    <a:pt x="475254" y="940638"/>
                  </a:lnTo>
                  <a:lnTo>
                    <a:pt x="435014" y="933418"/>
                  </a:lnTo>
                  <a:lnTo>
                    <a:pt x="400489" y="914020"/>
                  </a:lnTo>
                  <a:lnTo>
                    <a:pt x="374041" y="884632"/>
                  </a:lnTo>
                  <a:lnTo>
                    <a:pt x="358033" y="847445"/>
                  </a:lnTo>
                  <a:lnTo>
                    <a:pt x="356966" y="840054"/>
                  </a:lnTo>
                  <a:close/>
                </a:path>
                <a:path w="927100" h="1621789">
                  <a:moveTo>
                    <a:pt x="697601" y="796289"/>
                  </a:moveTo>
                  <a:lnTo>
                    <a:pt x="475318" y="796289"/>
                  </a:lnTo>
                  <a:lnTo>
                    <a:pt x="571736" y="809675"/>
                  </a:lnTo>
                  <a:lnTo>
                    <a:pt x="586979" y="814306"/>
                  </a:lnTo>
                  <a:lnTo>
                    <a:pt x="595080" y="822839"/>
                  </a:lnTo>
                  <a:lnTo>
                    <a:pt x="597287" y="834868"/>
                  </a:lnTo>
                  <a:lnTo>
                    <a:pt x="594850" y="849985"/>
                  </a:lnTo>
                  <a:lnTo>
                    <a:pt x="578149" y="886529"/>
                  </a:lnTo>
                  <a:lnTo>
                    <a:pt x="550768" y="915338"/>
                  </a:lnTo>
                  <a:lnTo>
                    <a:pt x="515529" y="934133"/>
                  </a:lnTo>
                  <a:lnTo>
                    <a:pt x="475254" y="940638"/>
                  </a:lnTo>
                  <a:lnTo>
                    <a:pt x="606463" y="940638"/>
                  </a:lnTo>
                  <a:lnTo>
                    <a:pt x="621535" y="922996"/>
                  </a:lnTo>
                  <a:lnTo>
                    <a:pt x="642933" y="883454"/>
                  </a:lnTo>
                  <a:lnTo>
                    <a:pt x="658858" y="836980"/>
                  </a:lnTo>
                  <a:lnTo>
                    <a:pt x="760825" y="836980"/>
                  </a:lnTo>
                  <a:lnTo>
                    <a:pt x="744173" y="824720"/>
                  </a:lnTo>
                  <a:lnTo>
                    <a:pt x="721533" y="809751"/>
                  </a:lnTo>
                  <a:lnTo>
                    <a:pt x="698134" y="796555"/>
                  </a:lnTo>
                  <a:lnTo>
                    <a:pt x="697601" y="796289"/>
                  </a:lnTo>
                  <a:close/>
                </a:path>
                <a:path w="927100" h="1621789">
                  <a:moveTo>
                    <a:pt x="760825" y="836980"/>
                  </a:moveTo>
                  <a:lnTo>
                    <a:pt x="658858" y="836980"/>
                  </a:lnTo>
                  <a:lnTo>
                    <a:pt x="771774" y="915390"/>
                  </a:lnTo>
                  <a:lnTo>
                    <a:pt x="817087" y="879716"/>
                  </a:lnTo>
                  <a:lnTo>
                    <a:pt x="790782" y="859790"/>
                  </a:lnTo>
                  <a:lnTo>
                    <a:pt x="766867" y="841428"/>
                  </a:lnTo>
                  <a:lnTo>
                    <a:pt x="760825" y="836980"/>
                  </a:lnTo>
                  <a:close/>
                </a:path>
                <a:path w="927100" h="1621789">
                  <a:moveTo>
                    <a:pt x="550827" y="323964"/>
                  </a:moveTo>
                  <a:lnTo>
                    <a:pt x="471939" y="323964"/>
                  </a:lnTo>
                  <a:lnTo>
                    <a:pt x="499216" y="352405"/>
                  </a:lnTo>
                  <a:lnTo>
                    <a:pt x="525757" y="380657"/>
                  </a:lnTo>
                  <a:lnTo>
                    <a:pt x="581756" y="431101"/>
                  </a:lnTo>
                  <a:lnTo>
                    <a:pt x="634695" y="457749"/>
                  </a:lnTo>
                  <a:lnTo>
                    <a:pt x="692577" y="476376"/>
                  </a:lnTo>
                  <a:lnTo>
                    <a:pt x="704648" y="481340"/>
                  </a:lnTo>
                  <a:lnTo>
                    <a:pt x="712463" y="487837"/>
                  </a:lnTo>
                  <a:lnTo>
                    <a:pt x="716571" y="496931"/>
                  </a:lnTo>
                  <a:lnTo>
                    <a:pt x="717519" y="509689"/>
                  </a:lnTo>
                  <a:lnTo>
                    <a:pt x="711278" y="555168"/>
                  </a:lnTo>
                  <a:lnTo>
                    <a:pt x="696037" y="597708"/>
                  </a:lnTo>
                  <a:lnTo>
                    <a:pt x="672835" y="636326"/>
                  </a:lnTo>
                  <a:lnTo>
                    <a:pt x="642710" y="670036"/>
                  </a:lnTo>
                  <a:lnTo>
                    <a:pt x="606701" y="697853"/>
                  </a:lnTo>
                  <a:lnTo>
                    <a:pt x="565847" y="718793"/>
                  </a:lnTo>
                  <a:lnTo>
                    <a:pt x="521185" y="731872"/>
                  </a:lnTo>
                  <a:lnTo>
                    <a:pt x="473756" y="736104"/>
                  </a:lnTo>
                  <a:lnTo>
                    <a:pt x="653878" y="736104"/>
                  </a:lnTo>
                  <a:lnTo>
                    <a:pt x="675354" y="721229"/>
                  </a:lnTo>
                  <a:lnTo>
                    <a:pt x="704151" y="707112"/>
                  </a:lnTo>
                  <a:lnTo>
                    <a:pt x="738233" y="699909"/>
                  </a:lnTo>
                  <a:lnTo>
                    <a:pt x="780958" y="691513"/>
                  </a:lnTo>
                  <a:lnTo>
                    <a:pt x="819983" y="673984"/>
                  </a:lnTo>
                  <a:lnTo>
                    <a:pt x="854369" y="648735"/>
                  </a:lnTo>
                  <a:lnTo>
                    <a:pt x="865623" y="636409"/>
                  </a:lnTo>
                  <a:lnTo>
                    <a:pt x="751517" y="636409"/>
                  </a:lnTo>
                  <a:lnTo>
                    <a:pt x="781654" y="429602"/>
                  </a:lnTo>
                  <a:lnTo>
                    <a:pt x="729331" y="425051"/>
                  </a:lnTo>
                  <a:lnTo>
                    <a:pt x="682346" y="415118"/>
                  </a:lnTo>
                  <a:lnTo>
                    <a:pt x="640691" y="399723"/>
                  </a:lnTo>
                  <a:lnTo>
                    <a:pt x="604360" y="378785"/>
                  </a:lnTo>
                  <a:lnTo>
                    <a:pt x="573343" y="352223"/>
                  </a:lnTo>
                  <a:lnTo>
                    <a:pt x="550827" y="323964"/>
                  </a:lnTo>
                  <a:close/>
                </a:path>
                <a:path w="927100" h="1621789">
                  <a:moveTo>
                    <a:pt x="679776" y="57511"/>
                  </a:moveTo>
                  <a:lnTo>
                    <a:pt x="463232" y="57511"/>
                  </a:lnTo>
                  <a:lnTo>
                    <a:pt x="506656" y="58422"/>
                  </a:lnTo>
                  <a:lnTo>
                    <a:pt x="548910" y="64960"/>
                  </a:lnTo>
                  <a:lnTo>
                    <a:pt x="589536" y="76815"/>
                  </a:lnTo>
                  <a:lnTo>
                    <a:pt x="628074" y="93674"/>
                  </a:lnTo>
                  <a:lnTo>
                    <a:pt x="664067" y="115225"/>
                  </a:lnTo>
                  <a:lnTo>
                    <a:pt x="697081" y="141183"/>
                  </a:lnTo>
                  <a:lnTo>
                    <a:pt x="726580" y="171154"/>
                  </a:lnTo>
                  <a:lnTo>
                    <a:pt x="752185" y="204907"/>
                  </a:lnTo>
                  <a:lnTo>
                    <a:pt x="773409" y="242104"/>
                  </a:lnTo>
                  <a:lnTo>
                    <a:pt x="789795" y="282432"/>
                  </a:lnTo>
                  <a:lnTo>
                    <a:pt x="800883" y="325579"/>
                  </a:lnTo>
                  <a:lnTo>
                    <a:pt x="806216" y="371233"/>
                  </a:lnTo>
                  <a:lnTo>
                    <a:pt x="808289" y="408923"/>
                  </a:lnTo>
                  <a:lnTo>
                    <a:pt x="814457" y="444393"/>
                  </a:lnTo>
                  <a:lnTo>
                    <a:pt x="830271" y="475655"/>
                  </a:lnTo>
                  <a:lnTo>
                    <a:pt x="861283" y="500722"/>
                  </a:lnTo>
                  <a:lnTo>
                    <a:pt x="865538" y="502958"/>
                  </a:lnTo>
                  <a:lnTo>
                    <a:pt x="868297" y="511505"/>
                  </a:lnTo>
                  <a:lnTo>
                    <a:pt x="856618" y="556737"/>
                  </a:lnTo>
                  <a:lnTo>
                    <a:pt x="827766" y="594380"/>
                  </a:lnTo>
                  <a:lnTo>
                    <a:pt x="789997" y="623339"/>
                  </a:lnTo>
                  <a:lnTo>
                    <a:pt x="751517" y="636409"/>
                  </a:lnTo>
                  <a:lnTo>
                    <a:pt x="865623" y="636409"/>
                  </a:lnTo>
                  <a:lnTo>
                    <a:pt x="883178" y="617181"/>
                  </a:lnTo>
                  <a:lnTo>
                    <a:pt x="905472" y="580736"/>
                  </a:lnTo>
                  <a:lnTo>
                    <a:pt x="920313" y="540814"/>
                  </a:lnTo>
                  <a:lnTo>
                    <a:pt x="926762" y="498830"/>
                  </a:lnTo>
                  <a:lnTo>
                    <a:pt x="923882" y="456196"/>
                  </a:lnTo>
                  <a:lnTo>
                    <a:pt x="890558" y="448586"/>
                  </a:lnTo>
                  <a:lnTo>
                    <a:pt x="872824" y="437918"/>
                  </a:lnTo>
                  <a:lnTo>
                    <a:pt x="865592" y="417949"/>
                  </a:lnTo>
                  <a:lnTo>
                    <a:pt x="863773" y="382435"/>
                  </a:lnTo>
                  <a:lnTo>
                    <a:pt x="860037" y="334395"/>
                  </a:lnTo>
                  <a:lnTo>
                    <a:pt x="850796" y="288216"/>
                  </a:lnTo>
                  <a:lnTo>
                    <a:pt x="836388" y="244235"/>
                  </a:lnTo>
                  <a:lnTo>
                    <a:pt x="817151" y="202793"/>
                  </a:lnTo>
                  <a:lnTo>
                    <a:pt x="793423" y="164227"/>
                  </a:lnTo>
                  <a:lnTo>
                    <a:pt x="765543" y="128879"/>
                  </a:lnTo>
                  <a:lnTo>
                    <a:pt x="733849" y="97086"/>
                  </a:lnTo>
                  <a:lnTo>
                    <a:pt x="698680" y="69188"/>
                  </a:lnTo>
                  <a:lnTo>
                    <a:pt x="679776" y="57511"/>
                  </a:lnTo>
                  <a:close/>
                </a:path>
                <a:path w="927100" h="1621789">
                  <a:moveTo>
                    <a:pt x="502267" y="188112"/>
                  </a:moveTo>
                  <a:lnTo>
                    <a:pt x="450197" y="188112"/>
                  </a:lnTo>
                  <a:lnTo>
                    <a:pt x="440676" y="237831"/>
                  </a:lnTo>
                  <a:lnTo>
                    <a:pt x="425810" y="281658"/>
                  </a:lnTo>
                  <a:lnTo>
                    <a:pt x="405578" y="319664"/>
                  </a:lnTo>
                  <a:lnTo>
                    <a:pt x="379963" y="351921"/>
                  </a:lnTo>
                  <a:lnTo>
                    <a:pt x="348946" y="378498"/>
                  </a:lnTo>
                  <a:lnTo>
                    <a:pt x="312507" y="399468"/>
                  </a:lnTo>
                  <a:lnTo>
                    <a:pt x="270629" y="414901"/>
                  </a:lnTo>
                  <a:lnTo>
                    <a:pt x="223293" y="424867"/>
                  </a:lnTo>
                  <a:lnTo>
                    <a:pt x="170480" y="429437"/>
                  </a:lnTo>
                  <a:lnTo>
                    <a:pt x="201074" y="634644"/>
                  </a:lnTo>
                  <a:lnTo>
                    <a:pt x="279089" y="634644"/>
                  </a:lnTo>
                  <a:lnTo>
                    <a:pt x="276576" y="631699"/>
                  </a:lnTo>
                  <a:lnTo>
                    <a:pt x="254412" y="592583"/>
                  </a:lnTo>
                  <a:lnTo>
                    <a:pt x="240522" y="549799"/>
                  </a:lnTo>
                  <a:lnTo>
                    <a:pt x="235986" y="504380"/>
                  </a:lnTo>
                  <a:lnTo>
                    <a:pt x="237310" y="497167"/>
                  </a:lnTo>
                  <a:lnTo>
                    <a:pt x="240572" y="489462"/>
                  </a:lnTo>
                  <a:lnTo>
                    <a:pt x="244914" y="483165"/>
                  </a:lnTo>
                  <a:lnTo>
                    <a:pt x="249474" y="480174"/>
                  </a:lnTo>
                  <a:lnTo>
                    <a:pt x="297770" y="468713"/>
                  </a:lnTo>
                  <a:lnTo>
                    <a:pt x="341420" y="450924"/>
                  </a:lnTo>
                  <a:lnTo>
                    <a:pt x="380542" y="427181"/>
                  </a:lnTo>
                  <a:lnTo>
                    <a:pt x="415257" y="397858"/>
                  </a:lnTo>
                  <a:lnTo>
                    <a:pt x="445682" y="363328"/>
                  </a:lnTo>
                  <a:lnTo>
                    <a:pt x="471939" y="323964"/>
                  </a:lnTo>
                  <a:lnTo>
                    <a:pt x="550827" y="323964"/>
                  </a:lnTo>
                  <a:lnTo>
                    <a:pt x="547633" y="319955"/>
                  </a:lnTo>
                  <a:lnTo>
                    <a:pt x="527222" y="281902"/>
                  </a:lnTo>
                  <a:lnTo>
                    <a:pt x="512103" y="237981"/>
                  </a:lnTo>
                  <a:lnTo>
                    <a:pt x="502267" y="188112"/>
                  </a:lnTo>
                  <a:close/>
                </a:path>
              </a:pathLst>
            </a:custGeom>
            <a:grpFill/>
            <a:ln>
              <a:noFill/>
            </a:ln>
          </p:spPr>
          <p:txBody>
            <a:bodyPr wrap="square" lIns="0" tIns="0" rIns="0" bIns="0" rtlCol="0"/>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Segoe UI"/>
                <a:ea typeface="+mn-ea"/>
                <a:cs typeface="+mn-cs"/>
              </a:endParaRPr>
            </a:p>
          </p:txBody>
        </p:sp>
        <p:sp>
          <p:nvSpPr>
            <p:cNvPr id="32" name="object 12">
              <a:extLst>
                <a:ext uri="{FF2B5EF4-FFF2-40B4-BE49-F238E27FC236}">
                  <a16:creationId xmlns:a16="http://schemas.microsoft.com/office/drawing/2014/main" id="{2816B4E6-CB96-4D76-8589-E686E17AB0C3}"/>
                </a:ext>
              </a:extLst>
            </p:cNvPr>
            <p:cNvSpPr/>
            <p:nvPr/>
          </p:nvSpPr>
          <p:spPr>
            <a:xfrm>
              <a:off x="2590272" y="2775848"/>
              <a:ext cx="695325" cy="1183640"/>
            </a:xfrm>
            <a:custGeom>
              <a:avLst/>
              <a:gdLst/>
              <a:ahLst/>
              <a:cxnLst/>
              <a:rect l="l" t="t" r="r" b="b"/>
              <a:pathLst>
                <a:path w="695325" h="1183639">
                  <a:moveTo>
                    <a:pt x="678178" y="689073"/>
                  </a:moveTo>
                  <a:lnTo>
                    <a:pt x="187617" y="689073"/>
                  </a:lnTo>
                  <a:lnTo>
                    <a:pt x="511098" y="689911"/>
                  </a:lnTo>
                  <a:lnTo>
                    <a:pt x="517769" y="690419"/>
                  </a:lnTo>
                  <a:lnTo>
                    <a:pt x="524867" y="691692"/>
                  </a:lnTo>
                  <a:lnTo>
                    <a:pt x="532824" y="693408"/>
                  </a:lnTo>
                  <a:lnTo>
                    <a:pt x="542074" y="695245"/>
                  </a:lnTo>
                  <a:lnTo>
                    <a:pt x="542074" y="1183471"/>
                  </a:lnTo>
                  <a:lnTo>
                    <a:pt x="597090" y="1183471"/>
                  </a:lnTo>
                  <a:lnTo>
                    <a:pt x="597090" y="768892"/>
                  </a:lnTo>
                  <a:lnTo>
                    <a:pt x="598251" y="724903"/>
                  </a:lnTo>
                  <a:lnTo>
                    <a:pt x="606377" y="701979"/>
                  </a:lnTo>
                  <a:lnTo>
                    <a:pt x="628433" y="692661"/>
                  </a:lnTo>
                  <a:lnTo>
                    <a:pt x="671385" y="689492"/>
                  </a:lnTo>
                  <a:lnTo>
                    <a:pt x="677646" y="689200"/>
                  </a:lnTo>
                  <a:lnTo>
                    <a:pt x="678178" y="689073"/>
                  </a:lnTo>
                  <a:close/>
                </a:path>
                <a:path w="695325" h="1183639">
                  <a:moveTo>
                    <a:pt x="186770" y="689160"/>
                  </a:moveTo>
                  <a:lnTo>
                    <a:pt x="71147" y="689160"/>
                  </a:lnTo>
                  <a:lnTo>
                    <a:pt x="86226" y="697377"/>
                  </a:lnTo>
                  <a:lnTo>
                    <a:pt x="93752" y="713887"/>
                  </a:lnTo>
                  <a:lnTo>
                    <a:pt x="95529" y="738590"/>
                  </a:lnTo>
                  <a:lnTo>
                    <a:pt x="94827" y="788618"/>
                  </a:lnTo>
                  <a:lnTo>
                    <a:pt x="94415" y="838651"/>
                  </a:lnTo>
                  <a:lnTo>
                    <a:pt x="94312" y="988769"/>
                  </a:lnTo>
                  <a:lnTo>
                    <a:pt x="94583" y="1088853"/>
                  </a:lnTo>
                  <a:lnTo>
                    <a:pt x="94640" y="1182772"/>
                  </a:lnTo>
                  <a:lnTo>
                    <a:pt x="151879" y="1182772"/>
                  </a:lnTo>
                  <a:lnTo>
                    <a:pt x="151922" y="828808"/>
                  </a:lnTo>
                  <a:lnTo>
                    <a:pt x="151762" y="788618"/>
                  </a:lnTo>
                  <a:lnTo>
                    <a:pt x="151660" y="768892"/>
                  </a:lnTo>
                  <a:lnTo>
                    <a:pt x="151384" y="726715"/>
                  </a:lnTo>
                  <a:lnTo>
                    <a:pt x="152864" y="709213"/>
                  </a:lnTo>
                  <a:lnTo>
                    <a:pt x="158513" y="697469"/>
                  </a:lnTo>
                  <a:lnTo>
                    <a:pt x="169655" y="690938"/>
                  </a:lnTo>
                  <a:lnTo>
                    <a:pt x="186770" y="689160"/>
                  </a:lnTo>
                  <a:close/>
                </a:path>
                <a:path w="695325" h="1183639">
                  <a:moveTo>
                    <a:pt x="115918" y="0"/>
                  </a:moveTo>
                  <a:lnTo>
                    <a:pt x="100441" y="3060"/>
                  </a:lnTo>
                  <a:lnTo>
                    <a:pt x="94826" y="16526"/>
                  </a:lnTo>
                  <a:lnTo>
                    <a:pt x="95034" y="44116"/>
                  </a:lnTo>
                  <a:lnTo>
                    <a:pt x="96792" y="93655"/>
                  </a:lnTo>
                  <a:lnTo>
                    <a:pt x="97127" y="143007"/>
                  </a:lnTo>
                  <a:lnTo>
                    <a:pt x="95954" y="192166"/>
                  </a:lnTo>
                  <a:lnTo>
                    <a:pt x="93188" y="241131"/>
                  </a:lnTo>
                  <a:lnTo>
                    <a:pt x="88744" y="289897"/>
                  </a:lnTo>
                  <a:lnTo>
                    <a:pt x="82537" y="338462"/>
                  </a:lnTo>
                  <a:lnTo>
                    <a:pt x="74484" y="386822"/>
                  </a:lnTo>
                  <a:lnTo>
                    <a:pt x="64498" y="434974"/>
                  </a:lnTo>
                  <a:lnTo>
                    <a:pt x="52495" y="482914"/>
                  </a:lnTo>
                  <a:lnTo>
                    <a:pt x="38392" y="530640"/>
                  </a:lnTo>
                  <a:lnTo>
                    <a:pt x="27490" y="568865"/>
                  </a:lnTo>
                  <a:lnTo>
                    <a:pt x="18162" y="608037"/>
                  </a:lnTo>
                  <a:lnTo>
                    <a:pt x="9350" y="648262"/>
                  </a:lnTo>
                  <a:lnTo>
                    <a:pt x="0" y="689644"/>
                  </a:lnTo>
                  <a:lnTo>
                    <a:pt x="14002" y="689866"/>
                  </a:lnTo>
                  <a:lnTo>
                    <a:pt x="26069" y="690211"/>
                  </a:lnTo>
                  <a:lnTo>
                    <a:pt x="36779" y="690196"/>
                  </a:lnTo>
                  <a:lnTo>
                    <a:pt x="46710" y="689339"/>
                  </a:lnTo>
                  <a:lnTo>
                    <a:pt x="186770" y="689160"/>
                  </a:lnTo>
                  <a:lnTo>
                    <a:pt x="187617" y="689073"/>
                  </a:lnTo>
                  <a:lnTo>
                    <a:pt x="678178" y="689073"/>
                  </a:lnTo>
                  <a:lnTo>
                    <a:pt x="683869" y="687714"/>
                  </a:lnTo>
                  <a:lnTo>
                    <a:pt x="695236" y="686012"/>
                  </a:lnTo>
                  <a:lnTo>
                    <a:pt x="680058" y="629446"/>
                  </a:lnTo>
                  <a:lnTo>
                    <a:pt x="69697" y="629446"/>
                  </a:lnTo>
                  <a:lnTo>
                    <a:pt x="83880" y="581949"/>
                  </a:lnTo>
                  <a:lnTo>
                    <a:pt x="97191" y="534465"/>
                  </a:lnTo>
                  <a:lnTo>
                    <a:pt x="109487" y="486960"/>
                  </a:lnTo>
                  <a:lnTo>
                    <a:pt x="120625" y="439402"/>
                  </a:lnTo>
                  <a:lnTo>
                    <a:pt x="130464" y="391758"/>
                  </a:lnTo>
                  <a:lnTo>
                    <a:pt x="138861" y="343997"/>
                  </a:lnTo>
                  <a:lnTo>
                    <a:pt x="145674" y="296084"/>
                  </a:lnTo>
                  <a:lnTo>
                    <a:pt x="150759" y="247989"/>
                  </a:lnTo>
                  <a:lnTo>
                    <a:pt x="153976" y="199678"/>
                  </a:lnTo>
                  <a:lnTo>
                    <a:pt x="155132" y="153075"/>
                  </a:lnTo>
                  <a:lnTo>
                    <a:pt x="155161" y="150097"/>
                  </a:lnTo>
                  <a:lnTo>
                    <a:pt x="154231" y="102280"/>
                  </a:lnTo>
                  <a:lnTo>
                    <a:pt x="150985" y="53127"/>
                  </a:lnTo>
                  <a:lnTo>
                    <a:pt x="145300" y="3628"/>
                  </a:lnTo>
                  <a:lnTo>
                    <a:pt x="115918" y="0"/>
                  </a:lnTo>
                  <a:close/>
                </a:path>
                <a:path w="695325" h="1183639">
                  <a:moveTo>
                    <a:pt x="566349" y="759"/>
                  </a:moveTo>
                  <a:lnTo>
                    <a:pt x="540213" y="44116"/>
                  </a:lnTo>
                  <a:lnTo>
                    <a:pt x="540026" y="71252"/>
                  </a:lnTo>
                  <a:lnTo>
                    <a:pt x="539859" y="93655"/>
                  </a:lnTo>
                  <a:lnTo>
                    <a:pt x="539862" y="123826"/>
                  </a:lnTo>
                  <a:lnTo>
                    <a:pt x="540440" y="153075"/>
                  </a:lnTo>
                  <a:lnTo>
                    <a:pt x="541251" y="196530"/>
                  </a:lnTo>
                  <a:lnTo>
                    <a:pt x="541986" y="243033"/>
                  </a:lnTo>
                  <a:lnTo>
                    <a:pt x="544305" y="289282"/>
                  </a:lnTo>
                  <a:lnTo>
                    <a:pt x="549922" y="334958"/>
                  </a:lnTo>
                  <a:lnTo>
                    <a:pt x="559730" y="384801"/>
                  </a:lnTo>
                  <a:lnTo>
                    <a:pt x="571339" y="434332"/>
                  </a:lnTo>
                  <a:lnTo>
                    <a:pt x="584015" y="483678"/>
                  </a:lnTo>
                  <a:lnTo>
                    <a:pt x="597025" y="532968"/>
                  </a:lnTo>
                  <a:lnTo>
                    <a:pt x="609638" y="582329"/>
                  </a:lnTo>
                  <a:lnTo>
                    <a:pt x="612240" y="593552"/>
                  </a:lnTo>
                  <a:lnTo>
                    <a:pt x="614670" y="605030"/>
                  </a:lnTo>
                  <a:lnTo>
                    <a:pt x="617096" y="616937"/>
                  </a:lnTo>
                  <a:lnTo>
                    <a:pt x="619683" y="629446"/>
                  </a:lnTo>
                  <a:lnTo>
                    <a:pt x="680058" y="629446"/>
                  </a:lnTo>
                  <a:lnTo>
                    <a:pt x="669323" y="589436"/>
                  </a:lnTo>
                  <a:lnTo>
                    <a:pt x="656628" y="541230"/>
                  </a:lnTo>
                  <a:lnTo>
                    <a:pt x="644426" y="493033"/>
                  </a:lnTo>
                  <a:lnTo>
                    <a:pt x="632954" y="444812"/>
                  </a:lnTo>
                  <a:lnTo>
                    <a:pt x="622453" y="396532"/>
                  </a:lnTo>
                  <a:lnTo>
                    <a:pt x="613160" y="348160"/>
                  </a:lnTo>
                  <a:lnTo>
                    <a:pt x="605315" y="299662"/>
                  </a:lnTo>
                  <a:lnTo>
                    <a:pt x="599157" y="251005"/>
                  </a:lnTo>
                  <a:lnTo>
                    <a:pt x="594923" y="202153"/>
                  </a:lnTo>
                  <a:lnTo>
                    <a:pt x="592854" y="153075"/>
                  </a:lnTo>
                  <a:lnTo>
                    <a:pt x="593187" y="103735"/>
                  </a:lnTo>
                  <a:lnTo>
                    <a:pt x="596162" y="54100"/>
                  </a:lnTo>
                  <a:lnTo>
                    <a:pt x="602018" y="4136"/>
                  </a:lnTo>
                  <a:lnTo>
                    <a:pt x="566349" y="759"/>
                  </a:lnTo>
                  <a:close/>
                </a:path>
              </a:pathLst>
            </a:custGeom>
            <a:grpFill/>
            <a:ln>
              <a:noFill/>
            </a:ln>
          </p:spPr>
          <p:txBody>
            <a:bodyPr wrap="square" lIns="0" tIns="0" rIns="0" bIns="0" rtlCol="0"/>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Segoe UI"/>
                <a:ea typeface="+mn-ea"/>
                <a:cs typeface="+mn-cs"/>
              </a:endParaRPr>
            </a:p>
          </p:txBody>
        </p:sp>
        <p:sp>
          <p:nvSpPr>
            <p:cNvPr id="33" name="object 13">
              <a:extLst>
                <a:ext uri="{FF2B5EF4-FFF2-40B4-BE49-F238E27FC236}">
                  <a16:creationId xmlns:a16="http://schemas.microsoft.com/office/drawing/2014/main" id="{9B9E9515-797F-4329-B70F-81A4BAEE4ABE}"/>
                </a:ext>
              </a:extLst>
            </p:cNvPr>
            <p:cNvSpPr/>
            <p:nvPr/>
          </p:nvSpPr>
          <p:spPr>
            <a:xfrm>
              <a:off x="2855211" y="2246245"/>
              <a:ext cx="166370" cy="82550"/>
            </a:xfrm>
            <a:custGeom>
              <a:avLst/>
              <a:gdLst/>
              <a:ahLst/>
              <a:cxnLst/>
              <a:rect l="l" t="t" r="r" b="b"/>
              <a:pathLst>
                <a:path w="166369" h="82550">
                  <a:moveTo>
                    <a:pt x="165989" y="0"/>
                  </a:moveTo>
                  <a:lnTo>
                    <a:pt x="0" y="0"/>
                  </a:lnTo>
                  <a:lnTo>
                    <a:pt x="7244" y="33536"/>
                  </a:lnTo>
                  <a:lnTo>
                    <a:pt x="23307" y="58897"/>
                  </a:lnTo>
                  <a:lnTo>
                    <a:pt x="47195" y="75307"/>
                  </a:lnTo>
                  <a:lnTo>
                    <a:pt x="77914" y="81991"/>
                  </a:lnTo>
                  <a:lnTo>
                    <a:pt x="110267" y="77815"/>
                  </a:lnTo>
                  <a:lnTo>
                    <a:pt x="136305" y="62403"/>
                  </a:lnTo>
                  <a:lnTo>
                    <a:pt x="155167" y="36287"/>
                  </a:lnTo>
                  <a:lnTo>
                    <a:pt x="165989" y="0"/>
                  </a:lnTo>
                  <a:close/>
                </a:path>
              </a:pathLst>
            </a:custGeom>
            <a:grpFill/>
            <a:ln>
              <a:noFill/>
            </a:ln>
          </p:spPr>
          <p:txBody>
            <a:bodyPr wrap="square" lIns="0" tIns="0" rIns="0" bIns="0" rtlCol="0"/>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4" name="Group 33" descr="Icon of a person with an arm injury" title="Arm Injury">
            <a:extLst>
              <a:ext uri="{FF2B5EF4-FFF2-40B4-BE49-F238E27FC236}">
                <a16:creationId xmlns:a16="http://schemas.microsoft.com/office/drawing/2014/main" id="{5B0F6599-EB12-4C73-A8B7-CE438C6CD1A4}"/>
              </a:ext>
            </a:extLst>
          </p:cNvPr>
          <p:cNvGrpSpPr>
            <a:grpSpLocks noChangeAspect="1"/>
          </p:cNvGrpSpPr>
          <p:nvPr userDrawn="1"/>
        </p:nvGrpSpPr>
        <p:grpSpPr>
          <a:xfrm>
            <a:off x="5055033" y="5684804"/>
            <a:ext cx="397532" cy="914400"/>
            <a:chOff x="5742070" y="1770398"/>
            <a:chExt cx="952500" cy="2190931"/>
          </a:xfrm>
          <a:solidFill>
            <a:schemeClr val="bg1"/>
          </a:solidFill>
        </p:grpSpPr>
        <p:sp>
          <p:nvSpPr>
            <p:cNvPr id="35" name="object 8">
              <a:extLst>
                <a:ext uri="{FF2B5EF4-FFF2-40B4-BE49-F238E27FC236}">
                  <a16:creationId xmlns:a16="http://schemas.microsoft.com/office/drawing/2014/main" id="{7CDC8557-166D-4102-AE61-2DC316B121A5}"/>
                </a:ext>
              </a:extLst>
            </p:cNvPr>
            <p:cNvSpPr/>
            <p:nvPr/>
          </p:nvSpPr>
          <p:spPr>
            <a:xfrm>
              <a:off x="5742070" y="1770398"/>
              <a:ext cx="952500" cy="1536700"/>
            </a:xfrm>
            <a:custGeom>
              <a:avLst/>
              <a:gdLst/>
              <a:ahLst/>
              <a:cxnLst/>
              <a:rect l="l" t="t" r="r" b="b"/>
              <a:pathLst>
                <a:path w="952500" h="1536700">
                  <a:moveTo>
                    <a:pt x="771151" y="762000"/>
                  </a:moveTo>
                  <a:lnTo>
                    <a:pt x="661758" y="762000"/>
                  </a:lnTo>
                  <a:lnTo>
                    <a:pt x="707712" y="787400"/>
                  </a:lnTo>
                  <a:lnTo>
                    <a:pt x="749367" y="812800"/>
                  </a:lnTo>
                  <a:lnTo>
                    <a:pt x="786346" y="850900"/>
                  </a:lnTo>
                  <a:lnTo>
                    <a:pt x="818273" y="889000"/>
                  </a:lnTo>
                  <a:lnTo>
                    <a:pt x="844771" y="927100"/>
                  </a:lnTo>
                  <a:lnTo>
                    <a:pt x="865462" y="977900"/>
                  </a:lnTo>
                  <a:lnTo>
                    <a:pt x="879971" y="1028700"/>
                  </a:lnTo>
                  <a:lnTo>
                    <a:pt x="887920" y="1079500"/>
                  </a:lnTo>
                  <a:lnTo>
                    <a:pt x="891467" y="1130300"/>
                  </a:lnTo>
                  <a:lnTo>
                    <a:pt x="893709" y="1181100"/>
                  </a:lnTo>
                  <a:lnTo>
                    <a:pt x="894930" y="1231900"/>
                  </a:lnTo>
                  <a:lnTo>
                    <a:pt x="895416" y="1282700"/>
                  </a:lnTo>
                  <a:lnTo>
                    <a:pt x="895325" y="1447800"/>
                  </a:lnTo>
                  <a:lnTo>
                    <a:pt x="895730" y="1498600"/>
                  </a:lnTo>
                  <a:lnTo>
                    <a:pt x="895756" y="1536700"/>
                  </a:lnTo>
                  <a:lnTo>
                    <a:pt x="951966" y="1536700"/>
                  </a:lnTo>
                  <a:lnTo>
                    <a:pt x="952062" y="1435100"/>
                  </a:lnTo>
                  <a:lnTo>
                    <a:pt x="952183" y="1257300"/>
                  </a:lnTo>
                  <a:lnTo>
                    <a:pt x="952056" y="1193800"/>
                  </a:lnTo>
                  <a:lnTo>
                    <a:pt x="951801" y="1143000"/>
                  </a:lnTo>
                  <a:lnTo>
                    <a:pt x="949516" y="1092200"/>
                  </a:lnTo>
                  <a:lnTo>
                    <a:pt x="943329" y="1054100"/>
                  </a:lnTo>
                  <a:lnTo>
                    <a:pt x="933230" y="1003300"/>
                  </a:lnTo>
                  <a:lnTo>
                    <a:pt x="919210" y="965200"/>
                  </a:lnTo>
                  <a:lnTo>
                    <a:pt x="901262" y="927100"/>
                  </a:lnTo>
                  <a:lnTo>
                    <a:pt x="879377" y="876300"/>
                  </a:lnTo>
                  <a:lnTo>
                    <a:pt x="853546" y="850900"/>
                  </a:lnTo>
                  <a:lnTo>
                    <a:pt x="823760" y="812800"/>
                  </a:lnTo>
                  <a:lnTo>
                    <a:pt x="790011" y="774700"/>
                  </a:lnTo>
                  <a:lnTo>
                    <a:pt x="771151" y="762000"/>
                  </a:lnTo>
                  <a:close/>
                </a:path>
                <a:path w="952500" h="1536700">
                  <a:moveTo>
                    <a:pt x="649686" y="685800"/>
                  </a:moveTo>
                  <a:lnTo>
                    <a:pt x="310154" y="685800"/>
                  </a:lnTo>
                  <a:lnTo>
                    <a:pt x="300238" y="698500"/>
                  </a:lnTo>
                  <a:lnTo>
                    <a:pt x="291045" y="698500"/>
                  </a:lnTo>
                  <a:lnTo>
                    <a:pt x="245035" y="723900"/>
                  </a:lnTo>
                  <a:lnTo>
                    <a:pt x="202912" y="749300"/>
                  </a:lnTo>
                  <a:lnTo>
                    <a:pt x="164683" y="774700"/>
                  </a:lnTo>
                  <a:lnTo>
                    <a:pt x="130356" y="812800"/>
                  </a:lnTo>
                  <a:lnTo>
                    <a:pt x="99940" y="838200"/>
                  </a:lnTo>
                  <a:lnTo>
                    <a:pt x="73442" y="876300"/>
                  </a:lnTo>
                  <a:lnTo>
                    <a:pt x="50870" y="927100"/>
                  </a:lnTo>
                  <a:lnTo>
                    <a:pt x="32231" y="965200"/>
                  </a:lnTo>
                  <a:lnTo>
                    <a:pt x="17535" y="1016000"/>
                  </a:lnTo>
                  <a:lnTo>
                    <a:pt x="6788" y="1066800"/>
                  </a:lnTo>
                  <a:lnTo>
                    <a:pt x="0" y="1117600"/>
                  </a:lnTo>
                  <a:lnTo>
                    <a:pt x="12" y="1130300"/>
                  </a:lnTo>
                  <a:lnTo>
                    <a:pt x="4999" y="1143000"/>
                  </a:lnTo>
                  <a:lnTo>
                    <a:pt x="16321" y="1155700"/>
                  </a:lnTo>
                  <a:lnTo>
                    <a:pt x="35344" y="1168400"/>
                  </a:lnTo>
                  <a:lnTo>
                    <a:pt x="83076" y="1181100"/>
                  </a:lnTo>
                  <a:lnTo>
                    <a:pt x="130712" y="1206500"/>
                  </a:lnTo>
                  <a:lnTo>
                    <a:pt x="225785" y="1231900"/>
                  </a:lnTo>
                  <a:lnTo>
                    <a:pt x="273263" y="1257300"/>
                  </a:lnTo>
                  <a:lnTo>
                    <a:pt x="368210" y="1282700"/>
                  </a:lnTo>
                  <a:lnTo>
                    <a:pt x="415721" y="1308100"/>
                  </a:lnTo>
                  <a:lnTo>
                    <a:pt x="439222" y="1308100"/>
                  </a:lnTo>
                  <a:lnTo>
                    <a:pt x="487248" y="1333500"/>
                  </a:lnTo>
                  <a:lnTo>
                    <a:pt x="512063" y="1333500"/>
                  </a:lnTo>
                  <a:lnTo>
                    <a:pt x="531075" y="1282700"/>
                  </a:lnTo>
                  <a:lnTo>
                    <a:pt x="444728" y="1257300"/>
                  </a:lnTo>
                  <a:lnTo>
                    <a:pt x="461423" y="1219200"/>
                  </a:lnTo>
                  <a:lnTo>
                    <a:pt x="366255" y="1219200"/>
                  </a:lnTo>
                  <a:lnTo>
                    <a:pt x="225742" y="1181100"/>
                  </a:lnTo>
                  <a:lnTo>
                    <a:pt x="178986" y="1155700"/>
                  </a:lnTo>
                  <a:lnTo>
                    <a:pt x="85343" y="1130300"/>
                  </a:lnTo>
                  <a:lnTo>
                    <a:pt x="72374" y="1117600"/>
                  </a:lnTo>
                  <a:lnTo>
                    <a:pt x="64096" y="1104900"/>
                  </a:lnTo>
                  <a:lnTo>
                    <a:pt x="60476" y="1104900"/>
                  </a:lnTo>
                  <a:lnTo>
                    <a:pt x="61480" y="1092200"/>
                  </a:lnTo>
                  <a:lnTo>
                    <a:pt x="65711" y="1066800"/>
                  </a:lnTo>
                  <a:lnTo>
                    <a:pt x="69884" y="1041400"/>
                  </a:lnTo>
                  <a:lnTo>
                    <a:pt x="78727" y="1003300"/>
                  </a:lnTo>
                  <a:lnTo>
                    <a:pt x="248368" y="1003300"/>
                  </a:lnTo>
                  <a:lnTo>
                    <a:pt x="107327" y="952500"/>
                  </a:lnTo>
                  <a:lnTo>
                    <a:pt x="129802" y="901700"/>
                  </a:lnTo>
                  <a:lnTo>
                    <a:pt x="160260" y="863600"/>
                  </a:lnTo>
                  <a:lnTo>
                    <a:pt x="197085" y="825500"/>
                  </a:lnTo>
                  <a:lnTo>
                    <a:pt x="238661" y="787400"/>
                  </a:lnTo>
                  <a:lnTo>
                    <a:pt x="283375" y="762000"/>
                  </a:lnTo>
                  <a:lnTo>
                    <a:pt x="356438" y="762000"/>
                  </a:lnTo>
                  <a:lnTo>
                    <a:pt x="355385" y="749300"/>
                  </a:lnTo>
                  <a:lnTo>
                    <a:pt x="358598" y="736600"/>
                  </a:lnTo>
                  <a:lnTo>
                    <a:pt x="366319" y="736600"/>
                  </a:lnTo>
                  <a:lnTo>
                    <a:pt x="378790" y="723900"/>
                  </a:lnTo>
                  <a:lnTo>
                    <a:pt x="402720" y="723900"/>
                  </a:lnTo>
                  <a:lnTo>
                    <a:pt x="475767" y="711200"/>
                  </a:lnTo>
                  <a:lnTo>
                    <a:pt x="690024" y="711200"/>
                  </a:lnTo>
                  <a:lnTo>
                    <a:pt x="669458" y="698500"/>
                  </a:lnTo>
                  <a:lnTo>
                    <a:pt x="649686" y="685800"/>
                  </a:lnTo>
                  <a:close/>
                </a:path>
                <a:path w="952500" h="1536700">
                  <a:moveTo>
                    <a:pt x="248368" y="1003300"/>
                  </a:moveTo>
                  <a:lnTo>
                    <a:pt x="78727" y="1003300"/>
                  </a:lnTo>
                  <a:lnTo>
                    <a:pt x="436016" y="1130300"/>
                  </a:lnTo>
                  <a:lnTo>
                    <a:pt x="426265" y="1155700"/>
                  </a:lnTo>
                  <a:lnTo>
                    <a:pt x="416942" y="1168400"/>
                  </a:lnTo>
                  <a:lnTo>
                    <a:pt x="407393" y="1193800"/>
                  </a:lnTo>
                  <a:lnTo>
                    <a:pt x="396963" y="1219200"/>
                  </a:lnTo>
                  <a:lnTo>
                    <a:pt x="461423" y="1219200"/>
                  </a:lnTo>
                  <a:lnTo>
                    <a:pt x="522636" y="1079500"/>
                  </a:lnTo>
                  <a:lnTo>
                    <a:pt x="459930" y="1079500"/>
                  </a:lnTo>
                  <a:lnTo>
                    <a:pt x="248368" y="1003300"/>
                  </a:lnTo>
                  <a:close/>
                </a:path>
                <a:path w="952500" h="1536700">
                  <a:moveTo>
                    <a:pt x="356438" y="762000"/>
                  </a:moveTo>
                  <a:lnTo>
                    <a:pt x="283375" y="762000"/>
                  </a:lnTo>
                  <a:lnTo>
                    <a:pt x="306766" y="800100"/>
                  </a:lnTo>
                  <a:lnTo>
                    <a:pt x="329296" y="825500"/>
                  </a:lnTo>
                  <a:lnTo>
                    <a:pt x="353196" y="863600"/>
                  </a:lnTo>
                  <a:lnTo>
                    <a:pt x="380695" y="889000"/>
                  </a:lnTo>
                  <a:lnTo>
                    <a:pt x="412633" y="901700"/>
                  </a:lnTo>
                  <a:lnTo>
                    <a:pt x="448756" y="914400"/>
                  </a:lnTo>
                  <a:lnTo>
                    <a:pt x="487281" y="914400"/>
                  </a:lnTo>
                  <a:lnTo>
                    <a:pt x="526427" y="927100"/>
                  </a:lnTo>
                  <a:lnTo>
                    <a:pt x="459930" y="1079500"/>
                  </a:lnTo>
                  <a:lnTo>
                    <a:pt x="522636" y="1079500"/>
                  </a:lnTo>
                  <a:lnTo>
                    <a:pt x="617239" y="863600"/>
                  </a:lnTo>
                  <a:lnTo>
                    <a:pt x="475767" y="863600"/>
                  </a:lnTo>
                  <a:lnTo>
                    <a:pt x="434305" y="850900"/>
                  </a:lnTo>
                  <a:lnTo>
                    <a:pt x="398529" y="825500"/>
                  </a:lnTo>
                  <a:lnTo>
                    <a:pt x="371540" y="800100"/>
                  </a:lnTo>
                  <a:lnTo>
                    <a:pt x="356438" y="762000"/>
                  </a:lnTo>
                  <a:close/>
                </a:path>
                <a:path w="952500" h="1536700">
                  <a:moveTo>
                    <a:pt x="690024" y="711200"/>
                  </a:moveTo>
                  <a:lnTo>
                    <a:pt x="475767" y="711200"/>
                  </a:lnTo>
                  <a:lnTo>
                    <a:pt x="525129" y="723900"/>
                  </a:lnTo>
                  <a:lnTo>
                    <a:pt x="574890" y="723900"/>
                  </a:lnTo>
                  <a:lnTo>
                    <a:pt x="587810" y="736600"/>
                  </a:lnTo>
                  <a:lnTo>
                    <a:pt x="594885" y="736600"/>
                  </a:lnTo>
                  <a:lnTo>
                    <a:pt x="597195" y="749300"/>
                  </a:lnTo>
                  <a:lnTo>
                    <a:pt x="580532" y="800100"/>
                  </a:lnTo>
                  <a:lnTo>
                    <a:pt x="517280" y="850900"/>
                  </a:lnTo>
                  <a:lnTo>
                    <a:pt x="475767" y="863600"/>
                  </a:lnTo>
                  <a:lnTo>
                    <a:pt x="617239" y="863600"/>
                  </a:lnTo>
                  <a:lnTo>
                    <a:pt x="661758" y="762000"/>
                  </a:lnTo>
                  <a:lnTo>
                    <a:pt x="771151" y="762000"/>
                  </a:lnTo>
                  <a:lnTo>
                    <a:pt x="752291" y="749300"/>
                  </a:lnTo>
                  <a:lnTo>
                    <a:pt x="690024" y="711200"/>
                  </a:lnTo>
                  <a:close/>
                </a:path>
                <a:path w="952500" h="1536700">
                  <a:moveTo>
                    <a:pt x="764311" y="495300"/>
                  </a:moveTo>
                  <a:lnTo>
                    <a:pt x="701738" y="495300"/>
                  </a:lnTo>
                  <a:lnTo>
                    <a:pt x="685442" y="533400"/>
                  </a:lnTo>
                  <a:lnTo>
                    <a:pt x="658328" y="571500"/>
                  </a:lnTo>
                  <a:lnTo>
                    <a:pt x="622276" y="609600"/>
                  </a:lnTo>
                  <a:lnTo>
                    <a:pt x="579163" y="635000"/>
                  </a:lnTo>
                  <a:lnTo>
                    <a:pt x="530869" y="647700"/>
                  </a:lnTo>
                  <a:lnTo>
                    <a:pt x="479272" y="660400"/>
                  </a:lnTo>
                  <a:lnTo>
                    <a:pt x="318822" y="660400"/>
                  </a:lnTo>
                  <a:lnTo>
                    <a:pt x="334302" y="673100"/>
                  </a:lnTo>
                  <a:lnTo>
                    <a:pt x="321330" y="685800"/>
                  </a:lnTo>
                  <a:lnTo>
                    <a:pt x="631507" y="685800"/>
                  </a:lnTo>
                  <a:lnTo>
                    <a:pt x="658793" y="647700"/>
                  </a:lnTo>
                  <a:lnTo>
                    <a:pt x="686177" y="622300"/>
                  </a:lnTo>
                  <a:lnTo>
                    <a:pt x="712499" y="596900"/>
                  </a:lnTo>
                  <a:lnTo>
                    <a:pt x="736599" y="558800"/>
                  </a:lnTo>
                  <a:lnTo>
                    <a:pt x="758584" y="520700"/>
                  </a:lnTo>
                  <a:lnTo>
                    <a:pt x="764311" y="495300"/>
                  </a:lnTo>
                  <a:close/>
                </a:path>
                <a:path w="952500" h="1536700">
                  <a:moveTo>
                    <a:pt x="184111" y="38100"/>
                  </a:moveTo>
                  <a:lnTo>
                    <a:pt x="183960" y="88900"/>
                  </a:lnTo>
                  <a:lnTo>
                    <a:pt x="183529" y="152400"/>
                  </a:lnTo>
                  <a:lnTo>
                    <a:pt x="183057" y="228600"/>
                  </a:lnTo>
                  <a:lnTo>
                    <a:pt x="182934" y="317500"/>
                  </a:lnTo>
                  <a:lnTo>
                    <a:pt x="183195" y="355600"/>
                  </a:lnTo>
                  <a:lnTo>
                    <a:pt x="184096" y="406400"/>
                  </a:lnTo>
                  <a:lnTo>
                    <a:pt x="185699" y="457200"/>
                  </a:lnTo>
                  <a:lnTo>
                    <a:pt x="194078" y="508000"/>
                  </a:lnTo>
                  <a:lnTo>
                    <a:pt x="213850" y="558800"/>
                  </a:lnTo>
                  <a:lnTo>
                    <a:pt x="242997" y="596900"/>
                  </a:lnTo>
                  <a:lnTo>
                    <a:pt x="291730" y="647700"/>
                  </a:lnTo>
                  <a:lnTo>
                    <a:pt x="304734" y="660400"/>
                  </a:lnTo>
                  <a:lnTo>
                    <a:pt x="479272" y="660400"/>
                  </a:lnTo>
                  <a:lnTo>
                    <a:pt x="427553" y="647700"/>
                  </a:lnTo>
                  <a:lnTo>
                    <a:pt x="379072" y="635000"/>
                  </a:lnTo>
                  <a:lnTo>
                    <a:pt x="335749" y="609600"/>
                  </a:lnTo>
                  <a:lnTo>
                    <a:pt x="299505" y="571500"/>
                  </a:lnTo>
                  <a:lnTo>
                    <a:pt x="272259" y="533400"/>
                  </a:lnTo>
                  <a:lnTo>
                    <a:pt x="255930" y="495300"/>
                  </a:lnTo>
                  <a:lnTo>
                    <a:pt x="764311" y="495300"/>
                  </a:lnTo>
                  <a:lnTo>
                    <a:pt x="767174" y="482600"/>
                  </a:lnTo>
                  <a:lnTo>
                    <a:pt x="345668" y="482600"/>
                  </a:lnTo>
                  <a:lnTo>
                    <a:pt x="308238" y="457200"/>
                  </a:lnTo>
                  <a:lnTo>
                    <a:pt x="277410" y="431800"/>
                  </a:lnTo>
                  <a:lnTo>
                    <a:pt x="254591" y="393700"/>
                  </a:lnTo>
                  <a:lnTo>
                    <a:pt x="241185" y="342900"/>
                  </a:lnTo>
                  <a:lnTo>
                    <a:pt x="286453" y="330200"/>
                  </a:lnTo>
                  <a:lnTo>
                    <a:pt x="330225" y="304800"/>
                  </a:lnTo>
                  <a:lnTo>
                    <a:pt x="777500" y="304800"/>
                  </a:lnTo>
                  <a:lnTo>
                    <a:pt x="776986" y="279400"/>
                  </a:lnTo>
                  <a:lnTo>
                    <a:pt x="238074" y="279400"/>
                  </a:lnTo>
                  <a:lnTo>
                    <a:pt x="238163" y="152400"/>
                  </a:lnTo>
                  <a:lnTo>
                    <a:pt x="238400" y="152400"/>
                  </a:lnTo>
                  <a:lnTo>
                    <a:pt x="238899" y="139700"/>
                  </a:lnTo>
                  <a:lnTo>
                    <a:pt x="239513" y="127000"/>
                  </a:lnTo>
                  <a:lnTo>
                    <a:pt x="329913" y="127000"/>
                  </a:lnTo>
                  <a:lnTo>
                    <a:pt x="338958" y="88900"/>
                  </a:lnTo>
                  <a:lnTo>
                    <a:pt x="353707" y="63500"/>
                  </a:lnTo>
                  <a:lnTo>
                    <a:pt x="278599" y="63500"/>
                  </a:lnTo>
                  <a:lnTo>
                    <a:pt x="184111" y="38100"/>
                  </a:lnTo>
                  <a:close/>
                </a:path>
                <a:path w="952500" h="1536700">
                  <a:moveTo>
                    <a:pt x="701738" y="495300"/>
                  </a:moveTo>
                  <a:lnTo>
                    <a:pt x="255930" y="495300"/>
                  </a:lnTo>
                  <a:lnTo>
                    <a:pt x="395008" y="571500"/>
                  </a:lnTo>
                  <a:lnTo>
                    <a:pt x="408652" y="533400"/>
                  </a:lnTo>
                  <a:lnTo>
                    <a:pt x="424562" y="520700"/>
                  </a:lnTo>
                  <a:lnTo>
                    <a:pt x="452952" y="508000"/>
                  </a:lnTo>
                  <a:lnTo>
                    <a:pt x="676992" y="508000"/>
                  </a:lnTo>
                  <a:lnTo>
                    <a:pt x="701738" y="495300"/>
                  </a:lnTo>
                  <a:close/>
                </a:path>
                <a:path w="952500" h="1536700">
                  <a:moveTo>
                    <a:pt x="676992" y="508000"/>
                  </a:moveTo>
                  <a:lnTo>
                    <a:pt x="504037" y="508000"/>
                  </a:lnTo>
                  <a:lnTo>
                    <a:pt x="527263" y="520700"/>
                  </a:lnTo>
                  <a:lnTo>
                    <a:pt x="540794" y="520700"/>
                  </a:lnTo>
                  <a:lnTo>
                    <a:pt x="548253" y="546100"/>
                  </a:lnTo>
                  <a:lnTo>
                    <a:pt x="553262" y="571500"/>
                  </a:lnTo>
                  <a:lnTo>
                    <a:pt x="676992" y="508000"/>
                  </a:lnTo>
                  <a:close/>
                </a:path>
                <a:path w="952500" h="1536700">
                  <a:moveTo>
                    <a:pt x="507350" y="457200"/>
                  </a:moveTo>
                  <a:lnTo>
                    <a:pt x="416252" y="457200"/>
                  </a:lnTo>
                  <a:lnTo>
                    <a:pt x="370725" y="482600"/>
                  </a:lnTo>
                  <a:lnTo>
                    <a:pt x="601192" y="482600"/>
                  </a:lnTo>
                  <a:lnTo>
                    <a:pt x="507350" y="457200"/>
                  </a:lnTo>
                  <a:close/>
                </a:path>
                <a:path w="952500" h="1536700">
                  <a:moveTo>
                    <a:pt x="777500" y="304800"/>
                  </a:moveTo>
                  <a:lnTo>
                    <a:pt x="351815" y="304800"/>
                  </a:lnTo>
                  <a:lnTo>
                    <a:pt x="381573" y="330200"/>
                  </a:lnTo>
                  <a:lnTo>
                    <a:pt x="413061" y="330200"/>
                  </a:lnTo>
                  <a:lnTo>
                    <a:pt x="445748" y="342900"/>
                  </a:lnTo>
                  <a:lnTo>
                    <a:pt x="718019" y="342900"/>
                  </a:lnTo>
                  <a:lnTo>
                    <a:pt x="700028" y="393700"/>
                  </a:lnTo>
                  <a:lnTo>
                    <a:pt x="673507" y="431800"/>
                  </a:lnTo>
                  <a:lnTo>
                    <a:pt x="640036" y="457200"/>
                  </a:lnTo>
                  <a:lnTo>
                    <a:pt x="601192" y="482600"/>
                  </a:lnTo>
                  <a:lnTo>
                    <a:pt x="767174" y="482600"/>
                  </a:lnTo>
                  <a:lnTo>
                    <a:pt x="770038" y="469900"/>
                  </a:lnTo>
                  <a:lnTo>
                    <a:pt x="774641" y="431800"/>
                  </a:lnTo>
                  <a:lnTo>
                    <a:pt x="776074" y="381000"/>
                  </a:lnTo>
                  <a:lnTo>
                    <a:pt x="778014" y="330200"/>
                  </a:lnTo>
                  <a:lnTo>
                    <a:pt x="777500" y="304800"/>
                  </a:lnTo>
                  <a:close/>
                </a:path>
                <a:path w="952500" h="1536700">
                  <a:moveTo>
                    <a:pt x="368426" y="228600"/>
                  </a:moveTo>
                  <a:lnTo>
                    <a:pt x="309041" y="228600"/>
                  </a:lnTo>
                  <a:lnTo>
                    <a:pt x="298930" y="254000"/>
                  </a:lnTo>
                  <a:lnTo>
                    <a:pt x="284059" y="266700"/>
                  </a:lnTo>
                  <a:lnTo>
                    <a:pt x="263937" y="279400"/>
                  </a:lnTo>
                  <a:lnTo>
                    <a:pt x="418106" y="279400"/>
                  </a:lnTo>
                  <a:lnTo>
                    <a:pt x="396832" y="266700"/>
                  </a:lnTo>
                  <a:lnTo>
                    <a:pt x="379856" y="254000"/>
                  </a:lnTo>
                  <a:lnTo>
                    <a:pt x="368426" y="228600"/>
                  </a:lnTo>
                  <a:close/>
                </a:path>
                <a:path w="952500" h="1536700">
                  <a:moveTo>
                    <a:pt x="479523" y="0"/>
                  </a:moveTo>
                  <a:lnTo>
                    <a:pt x="349902" y="0"/>
                  </a:lnTo>
                  <a:lnTo>
                    <a:pt x="311832" y="25400"/>
                  </a:lnTo>
                  <a:lnTo>
                    <a:pt x="278599" y="63500"/>
                  </a:lnTo>
                  <a:lnTo>
                    <a:pt x="482180" y="63500"/>
                  </a:lnTo>
                  <a:lnTo>
                    <a:pt x="529422" y="76200"/>
                  </a:lnTo>
                  <a:lnTo>
                    <a:pt x="571951" y="88900"/>
                  </a:lnTo>
                  <a:lnTo>
                    <a:pt x="610101" y="114300"/>
                  </a:lnTo>
                  <a:lnTo>
                    <a:pt x="644201" y="152400"/>
                  </a:lnTo>
                  <a:lnTo>
                    <a:pt x="674586" y="190500"/>
                  </a:lnTo>
                  <a:lnTo>
                    <a:pt x="701586" y="228600"/>
                  </a:lnTo>
                  <a:lnTo>
                    <a:pt x="715902" y="266700"/>
                  </a:lnTo>
                  <a:lnTo>
                    <a:pt x="721283" y="279400"/>
                  </a:lnTo>
                  <a:lnTo>
                    <a:pt x="776986" y="279400"/>
                  </a:lnTo>
                  <a:lnTo>
                    <a:pt x="767369" y="241300"/>
                  </a:lnTo>
                  <a:lnTo>
                    <a:pt x="750347" y="190500"/>
                  </a:lnTo>
                  <a:lnTo>
                    <a:pt x="727104" y="152400"/>
                  </a:lnTo>
                  <a:lnTo>
                    <a:pt x="698825" y="114300"/>
                  </a:lnTo>
                  <a:lnTo>
                    <a:pt x="666693" y="88900"/>
                  </a:lnTo>
                  <a:lnTo>
                    <a:pt x="631894" y="63500"/>
                  </a:lnTo>
                  <a:lnTo>
                    <a:pt x="595610" y="38100"/>
                  </a:lnTo>
                  <a:lnTo>
                    <a:pt x="523328" y="12700"/>
                  </a:lnTo>
                  <a:lnTo>
                    <a:pt x="479523" y="0"/>
                  </a:lnTo>
                  <a:close/>
                </a:path>
                <a:path w="952500" h="1536700">
                  <a:moveTo>
                    <a:pt x="356236" y="215900"/>
                  </a:moveTo>
                  <a:lnTo>
                    <a:pt x="320686" y="215900"/>
                  </a:lnTo>
                  <a:lnTo>
                    <a:pt x="313296" y="228600"/>
                  </a:lnTo>
                  <a:lnTo>
                    <a:pt x="364206" y="228600"/>
                  </a:lnTo>
                  <a:lnTo>
                    <a:pt x="356236" y="215900"/>
                  </a:lnTo>
                  <a:close/>
                </a:path>
                <a:path w="952500" h="1536700">
                  <a:moveTo>
                    <a:pt x="329913" y="127000"/>
                  </a:moveTo>
                  <a:lnTo>
                    <a:pt x="240093" y="127000"/>
                  </a:lnTo>
                  <a:lnTo>
                    <a:pt x="326897" y="139700"/>
                  </a:lnTo>
                  <a:lnTo>
                    <a:pt x="329913" y="127000"/>
                  </a:lnTo>
                  <a:close/>
                </a:path>
              </a:pathLst>
            </a:custGeom>
            <a:grpFill/>
            <a:ln>
              <a:noFill/>
            </a:ln>
          </p:spPr>
          <p:txBody>
            <a:bodyPr wrap="square" lIns="0" tIns="0" rIns="0" bIns="0" rtlCol="0"/>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Segoe UI"/>
                <a:ea typeface="+mn-ea"/>
                <a:cs typeface="+mn-cs"/>
              </a:endParaRPr>
            </a:p>
          </p:txBody>
        </p:sp>
        <p:sp>
          <p:nvSpPr>
            <p:cNvPr id="36" name="object 9">
              <a:extLst>
                <a:ext uri="{FF2B5EF4-FFF2-40B4-BE49-F238E27FC236}">
                  <a16:creationId xmlns:a16="http://schemas.microsoft.com/office/drawing/2014/main" id="{E23B0BEA-ECD4-4DF1-BB5F-FC3B57363032}"/>
                </a:ext>
              </a:extLst>
            </p:cNvPr>
            <p:cNvSpPr/>
            <p:nvPr/>
          </p:nvSpPr>
          <p:spPr>
            <a:xfrm>
              <a:off x="5969544" y="2778324"/>
              <a:ext cx="497205" cy="1183005"/>
            </a:xfrm>
            <a:custGeom>
              <a:avLst/>
              <a:gdLst/>
              <a:ahLst/>
              <a:cxnLst/>
              <a:rect l="l" t="t" r="r" b="b"/>
              <a:pathLst>
                <a:path w="497204" h="1183004">
                  <a:moveTo>
                    <a:pt x="54101" y="311454"/>
                  </a:moveTo>
                  <a:lnTo>
                    <a:pt x="0" y="311454"/>
                  </a:lnTo>
                  <a:lnTo>
                    <a:pt x="0" y="1182509"/>
                  </a:lnTo>
                  <a:lnTo>
                    <a:pt x="55079" y="1182509"/>
                  </a:lnTo>
                  <a:lnTo>
                    <a:pt x="55079" y="599186"/>
                  </a:lnTo>
                  <a:lnTo>
                    <a:pt x="340546" y="599186"/>
                  </a:lnTo>
                  <a:lnTo>
                    <a:pt x="403326" y="598411"/>
                  </a:lnTo>
                  <a:lnTo>
                    <a:pt x="497039" y="598411"/>
                  </a:lnTo>
                  <a:lnTo>
                    <a:pt x="497039" y="541337"/>
                  </a:lnTo>
                  <a:lnTo>
                    <a:pt x="395858" y="541337"/>
                  </a:lnTo>
                  <a:lnTo>
                    <a:pt x="335893" y="540486"/>
                  </a:lnTo>
                  <a:lnTo>
                    <a:pt x="100622" y="540486"/>
                  </a:lnTo>
                  <a:lnTo>
                    <a:pt x="89886" y="540204"/>
                  </a:lnTo>
                  <a:lnTo>
                    <a:pt x="78795" y="539526"/>
                  </a:lnTo>
                  <a:lnTo>
                    <a:pt x="54101" y="537756"/>
                  </a:lnTo>
                  <a:lnTo>
                    <a:pt x="54101" y="311454"/>
                  </a:lnTo>
                  <a:close/>
                </a:path>
                <a:path w="497204" h="1183004">
                  <a:moveTo>
                    <a:pt x="497039" y="598411"/>
                  </a:moveTo>
                  <a:lnTo>
                    <a:pt x="403326" y="598411"/>
                  </a:lnTo>
                  <a:lnTo>
                    <a:pt x="423661" y="600366"/>
                  </a:lnTo>
                  <a:lnTo>
                    <a:pt x="435964" y="607534"/>
                  </a:lnTo>
                  <a:lnTo>
                    <a:pt x="441986" y="620587"/>
                  </a:lnTo>
                  <a:lnTo>
                    <a:pt x="443483" y="640194"/>
                  </a:lnTo>
                  <a:lnTo>
                    <a:pt x="443148" y="689938"/>
                  </a:lnTo>
                  <a:lnTo>
                    <a:pt x="442916" y="739683"/>
                  </a:lnTo>
                  <a:lnTo>
                    <a:pt x="442772" y="789430"/>
                  </a:lnTo>
                  <a:lnTo>
                    <a:pt x="442704" y="938673"/>
                  </a:lnTo>
                  <a:lnTo>
                    <a:pt x="442861" y="1181341"/>
                  </a:lnTo>
                  <a:lnTo>
                    <a:pt x="497039" y="1181341"/>
                  </a:lnTo>
                  <a:lnTo>
                    <a:pt x="497039" y="598411"/>
                  </a:lnTo>
                  <a:close/>
                </a:path>
                <a:path w="497204" h="1183004">
                  <a:moveTo>
                    <a:pt x="340546" y="599186"/>
                  </a:moveTo>
                  <a:lnTo>
                    <a:pt x="55079" y="599186"/>
                  </a:lnTo>
                  <a:lnTo>
                    <a:pt x="206354" y="599512"/>
                  </a:lnTo>
                  <a:lnTo>
                    <a:pt x="340546" y="599186"/>
                  </a:lnTo>
                  <a:close/>
                </a:path>
                <a:path w="497204" h="1183004">
                  <a:moveTo>
                    <a:pt x="497039" y="0"/>
                  </a:moveTo>
                  <a:lnTo>
                    <a:pt x="444830" y="0"/>
                  </a:lnTo>
                  <a:lnTo>
                    <a:pt x="444225" y="11324"/>
                  </a:lnTo>
                  <a:lnTo>
                    <a:pt x="443614" y="21929"/>
                  </a:lnTo>
                  <a:lnTo>
                    <a:pt x="443140" y="32054"/>
                  </a:lnTo>
                  <a:lnTo>
                    <a:pt x="442950" y="41935"/>
                  </a:lnTo>
                  <a:lnTo>
                    <a:pt x="442868" y="92270"/>
                  </a:lnTo>
                  <a:lnTo>
                    <a:pt x="442591" y="192940"/>
                  </a:lnTo>
                  <a:lnTo>
                    <a:pt x="442517" y="343939"/>
                  </a:lnTo>
                  <a:lnTo>
                    <a:pt x="442750" y="394268"/>
                  </a:lnTo>
                  <a:lnTo>
                    <a:pt x="443181" y="444595"/>
                  </a:lnTo>
                  <a:lnTo>
                    <a:pt x="443852" y="494919"/>
                  </a:lnTo>
                  <a:lnTo>
                    <a:pt x="441639" y="518648"/>
                  </a:lnTo>
                  <a:lnTo>
                    <a:pt x="433485" y="532968"/>
                  </a:lnTo>
                  <a:lnTo>
                    <a:pt x="418516" y="539867"/>
                  </a:lnTo>
                  <a:lnTo>
                    <a:pt x="395858" y="541337"/>
                  </a:lnTo>
                  <a:lnTo>
                    <a:pt x="497039" y="541337"/>
                  </a:lnTo>
                  <a:lnTo>
                    <a:pt x="497039" y="0"/>
                  </a:lnTo>
                  <a:close/>
                </a:path>
                <a:path w="497204" h="1183004">
                  <a:moveTo>
                    <a:pt x="248254" y="540207"/>
                  </a:moveTo>
                  <a:lnTo>
                    <a:pt x="100622" y="540486"/>
                  </a:lnTo>
                  <a:lnTo>
                    <a:pt x="335893" y="540486"/>
                  </a:lnTo>
                  <a:lnTo>
                    <a:pt x="248254" y="540207"/>
                  </a:lnTo>
                  <a:close/>
                </a:path>
              </a:pathLst>
            </a:custGeom>
            <a:grpFill/>
            <a:ln>
              <a:noFill/>
            </a:ln>
          </p:spPr>
          <p:txBody>
            <a:bodyPr wrap="square" lIns="0" tIns="0" rIns="0" bIns="0" rtlCol="0"/>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7" name="Group 36">
            <a:extLst>
              <a:ext uri="{FF2B5EF4-FFF2-40B4-BE49-F238E27FC236}">
                <a16:creationId xmlns:a16="http://schemas.microsoft.com/office/drawing/2014/main" id="{85469DA4-09B5-42C1-945A-909AD9C085CE}"/>
              </a:ext>
              <a:ext uri="{C183D7F6-B498-43B3-948B-1728B52AA6E4}">
                <adec:decorative xmlns:adec="http://schemas.microsoft.com/office/drawing/2017/decorative" val="1"/>
              </a:ext>
            </a:extLst>
          </p:cNvPr>
          <p:cNvGrpSpPr/>
          <p:nvPr userDrawn="1"/>
        </p:nvGrpSpPr>
        <p:grpSpPr>
          <a:xfrm>
            <a:off x="8799289" y="5651087"/>
            <a:ext cx="396765" cy="927265"/>
            <a:chOff x="8799289" y="5651087"/>
            <a:chExt cx="396765" cy="927265"/>
          </a:xfrm>
        </p:grpSpPr>
        <p:grpSp>
          <p:nvGrpSpPr>
            <p:cNvPr id="38" name="Group 37" descr="Icon of a person holding a newborn baby" title="New Parent">
              <a:extLst>
                <a:ext uri="{FF2B5EF4-FFF2-40B4-BE49-F238E27FC236}">
                  <a16:creationId xmlns:a16="http://schemas.microsoft.com/office/drawing/2014/main" id="{8D7E5BDC-86AA-4A35-B061-AB8762DEF91B}"/>
                </a:ext>
              </a:extLst>
            </p:cNvPr>
            <p:cNvGrpSpPr>
              <a:grpSpLocks noChangeAspect="1"/>
            </p:cNvGrpSpPr>
            <p:nvPr/>
          </p:nvGrpSpPr>
          <p:grpSpPr>
            <a:xfrm>
              <a:off x="8799289" y="5651087"/>
              <a:ext cx="396765" cy="640538"/>
              <a:chOff x="9036285" y="1766858"/>
              <a:chExt cx="951865" cy="1536700"/>
            </a:xfrm>
            <a:solidFill>
              <a:schemeClr val="bg1"/>
            </a:solidFill>
          </p:grpSpPr>
          <p:sp>
            <p:nvSpPr>
              <p:cNvPr id="40" name="object 15">
                <a:extLst>
                  <a:ext uri="{FF2B5EF4-FFF2-40B4-BE49-F238E27FC236}">
                    <a16:creationId xmlns:a16="http://schemas.microsoft.com/office/drawing/2014/main" id="{295ED71E-AECD-42CF-B2AD-89A68838D25F}"/>
                  </a:ext>
                </a:extLst>
              </p:cNvPr>
              <p:cNvSpPr/>
              <p:nvPr/>
            </p:nvSpPr>
            <p:spPr>
              <a:xfrm>
                <a:off x="9036285" y="1766858"/>
                <a:ext cx="951865" cy="1536700"/>
              </a:xfrm>
              <a:custGeom>
                <a:avLst/>
                <a:gdLst/>
                <a:ahLst/>
                <a:cxnLst/>
                <a:rect l="l" t="t" r="r" b="b"/>
                <a:pathLst>
                  <a:path w="951865" h="1536700">
                    <a:moveTo>
                      <a:pt x="755986" y="762000"/>
                    </a:moveTo>
                    <a:lnTo>
                      <a:pt x="667851" y="762000"/>
                    </a:lnTo>
                    <a:lnTo>
                      <a:pt x="714161" y="800100"/>
                    </a:lnTo>
                    <a:lnTo>
                      <a:pt x="755223" y="825500"/>
                    </a:lnTo>
                    <a:lnTo>
                      <a:pt x="791018" y="863600"/>
                    </a:lnTo>
                    <a:lnTo>
                      <a:pt x="821528" y="901700"/>
                    </a:lnTo>
                    <a:lnTo>
                      <a:pt x="846735" y="939800"/>
                    </a:lnTo>
                    <a:lnTo>
                      <a:pt x="866620" y="990600"/>
                    </a:lnTo>
                    <a:lnTo>
                      <a:pt x="881165" y="1041400"/>
                    </a:lnTo>
                    <a:lnTo>
                      <a:pt x="890353" y="1092200"/>
                    </a:lnTo>
                    <a:lnTo>
                      <a:pt x="894165" y="1143000"/>
                    </a:lnTo>
                    <a:lnTo>
                      <a:pt x="894950" y="1193800"/>
                    </a:lnTo>
                    <a:lnTo>
                      <a:pt x="895221" y="1231900"/>
                    </a:lnTo>
                    <a:lnTo>
                      <a:pt x="895331" y="1308100"/>
                    </a:lnTo>
                    <a:lnTo>
                      <a:pt x="895225" y="1346200"/>
                    </a:lnTo>
                    <a:lnTo>
                      <a:pt x="895003" y="1397000"/>
                    </a:lnTo>
                    <a:lnTo>
                      <a:pt x="894815" y="1447800"/>
                    </a:lnTo>
                    <a:lnTo>
                      <a:pt x="894774" y="1498600"/>
                    </a:lnTo>
                    <a:lnTo>
                      <a:pt x="894991" y="1511300"/>
                    </a:lnTo>
                    <a:lnTo>
                      <a:pt x="895489" y="1524000"/>
                    </a:lnTo>
                    <a:lnTo>
                      <a:pt x="896096" y="1536700"/>
                    </a:lnTo>
                    <a:lnTo>
                      <a:pt x="951188" y="1536700"/>
                    </a:lnTo>
                    <a:lnTo>
                      <a:pt x="951246" y="1485900"/>
                    </a:lnTo>
                    <a:lnTo>
                      <a:pt x="951678" y="1346200"/>
                    </a:lnTo>
                    <a:lnTo>
                      <a:pt x="951561" y="1231900"/>
                    </a:lnTo>
                    <a:lnTo>
                      <a:pt x="951345" y="1193800"/>
                    </a:lnTo>
                    <a:lnTo>
                      <a:pt x="950807" y="1143000"/>
                    </a:lnTo>
                    <a:lnTo>
                      <a:pt x="948076" y="1092200"/>
                    </a:lnTo>
                    <a:lnTo>
                      <a:pt x="941212" y="1041400"/>
                    </a:lnTo>
                    <a:lnTo>
                      <a:pt x="930166" y="1003300"/>
                    </a:lnTo>
                    <a:lnTo>
                      <a:pt x="914888" y="952500"/>
                    </a:lnTo>
                    <a:lnTo>
                      <a:pt x="895329" y="914400"/>
                    </a:lnTo>
                    <a:lnTo>
                      <a:pt x="871439" y="876300"/>
                    </a:lnTo>
                    <a:lnTo>
                      <a:pt x="843169" y="838200"/>
                    </a:lnTo>
                    <a:lnTo>
                      <a:pt x="810467" y="800100"/>
                    </a:lnTo>
                    <a:lnTo>
                      <a:pt x="773286" y="774700"/>
                    </a:lnTo>
                    <a:lnTo>
                      <a:pt x="755986" y="762000"/>
                    </a:lnTo>
                    <a:close/>
                  </a:path>
                  <a:path w="951865" h="1536700">
                    <a:moveTo>
                      <a:pt x="626716" y="673100"/>
                    </a:moveTo>
                    <a:lnTo>
                      <a:pt x="326488" y="673100"/>
                    </a:lnTo>
                    <a:lnTo>
                      <a:pt x="327554" y="685800"/>
                    </a:lnTo>
                    <a:lnTo>
                      <a:pt x="314092" y="685800"/>
                    </a:lnTo>
                    <a:lnTo>
                      <a:pt x="307031" y="698500"/>
                    </a:lnTo>
                    <a:lnTo>
                      <a:pt x="258295" y="711200"/>
                    </a:lnTo>
                    <a:lnTo>
                      <a:pt x="213668" y="749300"/>
                    </a:lnTo>
                    <a:lnTo>
                      <a:pt x="173169" y="774700"/>
                    </a:lnTo>
                    <a:lnTo>
                      <a:pt x="136817" y="800100"/>
                    </a:lnTo>
                    <a:lnTo>
                      <a:pt x="104630" y="838200"/>
                    </a:lnTo>
                    <a:lnTo>
                      <a:pt x="76629" y="876300"/>
                    </a:lnTo>
                    <a:lnTo>
                      <a:pt x="52833" y="927100"/>
                    </a:lnTo>
                    <a:lnTo>
                      <a:pt x="33260" y="965200"/>
                    </a:lnTo>
                    <a:lnTo>
                      <a:pt x="17929" y="1016000"/>
                    </a:lnTo>
                    <a:lnTo>
                      <a:pt x="6860" y="1066800"/>
                    </a:lnTo>
                    <a:lnTo>
                      <a:pt x="72" y="1117600"/>
                    </a:lnTo>
                    <a:lnTo>
                      <a:pt x="0" y="1143000"/>
                    </a:lnTo>
                    <a:lnTo>
                      <a:pt x="4444" y="1155700"/>
                    </a:lnTo>
                    <a:lnTo>
                      <a:pt x="15056" y="1168400"/>
                    </a:lnTo>
                    <a:lnTo>
                      <a:pt x="33486" y="1168400"/>
                    </a:lnTo>
                    <a:lnTo>
                      <a:pt x="159994" y="1206500"/>
                    </a:lnTo>
                    <a:lnTo>
                      <a:pt x="202066" y="1231900"/>
                    </a:lnTo>
                    <a:lnTo>
                      <a:pt x="471115" y="1308100"/>
                    </a:lnTo>
                    <a:lnTo>
                      <a:pt x="520844" y="1320800"/>
                    </a:lnTo>
                    <a:lnTo>
                      <a:pt x="565968" y="1308100"/>
                    </a:lnTo>
                    <a:lnTo>
                      <a:pt x="602124" y="1282700"/>
                    </a:lnTo>
                    <a:lnTo>
                      <a:pt x="609733" y="1270000"/>
                    </a:lnTo>
                    <a:lnTo>
                      <a:pt x="511184" y="1270000"/>
                    </a:lnTo>
                    <a:lnTo>
                      <a:pt x="509870" y="1244600"/>
                    </a:lnTo>
                    <a:lnTo>
                      <a:pt x="447760" y="1244600"/>
                    </a:lnTo>
                    <a:lnTo>
                      <a:pt x="346122" y="1219200"/>
                    </a:lnTo>
                    <a:lnTo>
                      <a:pt x="368419" y="1181100"/>
                    </a:lnTo>
                    <a:lnTo>
                      <a:pt x="254821" y="1181100"/>
                    </a:lnTo>
                    <a:lnTo>
                      <a:pt x="215839" y="1168400"/>
                    </a:lnTo>
                    <a:lnTo>
                      <a:pt x="184070" y="1155700"/>
                    </a:lnTo>
                    <a:lnTo>
                      <a:pt x="169704" y="1130300"/>
                    </a:lnTo>
                    <a:lnTo>
                      <a:pt x="79270" y="1130300"/>
                    </a:lnTo>
                    <a:lnTo>
                      <a:pt x="66345" y="1117600"/>
                    </a:lnTo>
                    <a:lnTo>
                      <a:pt x="60629" y="1104900"/>
                    </a:lnTo>
                    <a:lnTo>
                      <a:pt x="61159" y="1079500"/>
                    </a:lnTo>
                    <a:lnTo>
                      <a:pt x="70939" y="1028700"/>
                    </a:lnTo>
                    <a:lnTo>
                      <a:pt x="86150" y="990600"/>
                    </a:lnTo>
                    <a:lnTo>
                      <a:pt x="106776" y="939800"/>
                    </a:lnTo>
                    <a:lnTo>
                      <a:pt x="132800" y="901700"/>
                    </a:lnTo>
                    <a:lnTo>
                      <a:pt x="167204" y="850900"/>
                    </a:lnTo>
                    <a:lnTo>
                      <a:pt x="206477" y="812800"/>
                    </a:lnTo>
                    <a:lnTo>
                      <a:pt x="251006" y="787400"/>
                    </a:lnTo>
                    <a:lnTo>
                      <a:pt x="301176" y="762000"/>
                    </a:lnTo>
                    <a:lnTo>
                      <a:pt x="371735" y="762000"/>
                    </a:lnTo>
                    <a:lnTo>
                      <a:pt x="359457" y="736600"/>
                    </a:lnTo>
                    <a:lnTo>
                      <a:pt x="406453" y="723900"/>
                    </a:lnTo>
                    <a:lnTo>
                      <a:pt x="702177" y="723900"/>
                    </a:lnTo>
                    <a:lnTo>
                      <a:pt x="626716" y="673100"/>
                    </a:lnTo>
                    <a:close/>
                  </a:path>
                  <a:path w="951865" h="1536700">
                    <a:moveTo>
                      <a:pt x="608513" y="1130300"/>
                    </a:moveTo>
                    <a:lnTo>
                      <a:pt x="503957" y="1130300"/>
                    </a:lnTo>
                    <a:lnTo>
                      <a:pt x="531960" y="1143000"/>
                    </a:lnTo>
                    <a:lnTo>
                      <a:pt x="553106" y="1155700"/>
                    </a:lnTo>
                    <a:lnTo>
                      <a:pt x="566804" y="1168400"/>
                    </a:lnTo>
                    <a:lnTo>
                      <a:pt x="572461" y="1193800"/>
                    </a:lnTo>
                    <a:lnTo>
                      <a:pt x="569800" y="1219200"/>
                    </a:lnTo>
                    <a:lnTo>
                      <a:pt x="558858" y="1244600"/>
                    </a:lnTo>
                    <a:lnTo>
                      <a:pt x="539398" y="1257300"/>
                    </a:lnTo>
                    <a:lnTo>
                      <a:pt x="511184" y="1270000"/>
                    </a:lnTo>
                    <a:lnTo>
                      <a:pt x="609733" y="1270000"/>
                    </a:lnTo>
                    <a:lnTo>
                      <a:pt x="624950" y="1244600"/>
                    </a:lnTo>
                    <a:lnTo>
                      <a:pt x="630924" y="1193800"/>
                    </a:lnTo>
                    <a:lnTo>
                      <a:pt x="618356" y="1143000"/>
                    </a:lnTo>
                    <a:lnTo>
                      <a:pt x="608513" y="1130300"/>
                    </a:lnTo>
                    <a:close/>
                  </a:path>
                  <a:path w="951865" h="1536700">
                    <a:moveTo>
                      <a:pt x="588828" y="1104900"/>
                    </a:moveTo>
                    <a:lnTo>
                      <a:pt x="413013" y="1104900"/>
                    </a:lnTo>
                    <a:lnTo>
                      <a:pt x="434839" y="1117600"/>
                    </a:lnTo>
                    <a:lnTo>
                      <a:pt x="447574" y="1143000"/>
                    </a:lnTo>
                    <a:lnTo>
                      <a:pt x="451716" y="1181100"/>
                    </a:lnTo>
                    <a:lnTo>
                      <a:pt x="447760" y="1244600"/>
                    </a:lnTo>
                    <a:lnTo>
                      <a:pt x="509870" y="1244600"/>
                    </a:lnTo>
                    <a:lnTo>
                      <a:pt x="503957" y="1130300"/>
                    </a:lnTo>
                    <a:lnTo>
                      <a:pt x="608513" y="1130300"/>
                    </a:lnTo>
                    <a:lnTo>
                      <a:pt x="588828" y="1104900"/>
                    </a:lnTo>
                    <a:close/>
                  </a:path>
                  <a:path w="951865" h="1536700">
                    <a:moveTo>
                      <a:pt x="371509" y="977900"/>
                    </a:moveTo>
                    <a:lnTo>
                      <a:pt x="250923" y="977900"/>
                    </a:lnTo>
                    <a:lnTo>
                      <a:pt x="288811" y="990600"/>
                    </a:lnTo>
                    <a:lnTo>
                      <a:pt x="319734" y="1016000"/>
                    </a:lnTo>
                    <a:lnTo>
                      <a:pt x="340566" y="1041400"/>
                    </a:lnTo>
                    <a:lnTo>
                      <a:pt x="348179" y="1079500"/>
                    </a:lnTo>
                    <a:lnTo>
                      <a:pt x="341075" y="1117600"/>
                    </a:lnTo>
                    <a:lnTo>
                      <a:pt x="321493" y="1143000"/>
                    </a:lnTo>
                    <a:lnTo>
                      <a:pt x="291915" y="1168400"/>
                    </a:lnTo>
                    <a:lnTo>
                      <a:pt x="254821" y="1181100"/>
                    </a:lnTo>
                    <a:lnTo>
                      <a:pt x="368419" y="1181100"/>
                    </a:lnTo>
                    <a:lnTo>
                      <a:pt x="413013" y="1104900"/>
                    </a:lnTo>
                    <a:lnTo>
                      <a:pt x="588828" y="1104900"/>
                    </a:lnTo>
                    <a:lnTo>
                      <a:pt x="543924" y="1079500"/>
                    </a:lnTo>
                    <a:lnTo>
                      <a:pt x="521066" y="1079500"/>
                    </a:lnTo>
                    <a:lnTo>
                      <a:pt x="509543" y="1066800"/>
                    </a:lnTo>
                    <a:lnTo>
                      <a:pt x="497988" y="1066800"/>
                    </a:lnTo>
                    <a:lnTo>
                      <a:pt x="459763" y="1054100"/>
                    </a:lnTo>
                    <a:lnTo>
                      <a:pt x="423528" y="1041400"/>
                    </a:lnTo>
                    <a:lnTo>
                      <a:pt x="392904" y="1016000"/>
                    </a:lnTo>
                    <a:lnTo>
                      <a:pt x="371509" y="977900"/>
                    </a:lnTo>
                    <a:close/>
                  </a:path>
                  <a:path w="951865" h="1536700">
                    <a:moveTo>
                      <a:pt x="290400" y="838200"/>
                    </a:moveTo>
                    <a:lnTo>
                      <a:pt x="255266" y="838200"/>
                    </a:lnTo>
                    <a:lnTo>
                      <a:pt x="255559" y="850900"/>
                    </a:lnTo>
                    <a:lnTo>
                      <a:pt x="255439" y="863600"/>
                    </a:lnTo>
                    <a:lnTo>
                      <a:pt x="256464" y="876300"/>
                    </a:lnTo>
                    <a:lnTo>
                      <a:pt x="260194" y="876300"/>
                    </a:lnTo>
                    <a:lnTo>
                      <a:pt x="274521" y="901700"/>
                    </a:lnTo>
                    <a:lnTo>
                      <a:pt x="270258" y="914400"/>
                    </a:lnTo>
                    <a:lnTo>
                      <a:pt x="253889" y="927100"/>
                    </a:lnTo>
                    <a:lnTo>
                      <a:pt x="231898" y="927100"/>
                    </a:lnTo>
                    <a:lnTo>
                      <a:pt x="182392" y="939800"/>
                    </a:lnTo>
                    <a:lnTo>
                      <a:pt x="143211" y="965200"/>
                    </a:lnTo>
                    <a:lnTo>
                      <a:pt x="115616" y="1003300"/>
                    </a:lnTo>
                    <a:lnTo>
                      <a:pt x="100871" y="1054100"/>
                    </a:lnTo>
                    <a:lnTo>
                      <a:pt x="100237" y="1104900"/>
                    </a:lnTo>
                    <a:lnTo>
                      <a:pt x="101190" y="1117600"/>
                    </a:lnTo>
                    <a:lnTo>
                      <a:pt x="100364" y="1117600"/>
                    </a:lnTo>
                    <a:lnTo>
                      <a:pt x="100364" y="1130300"/>
                    </a:lnTo>
                    <a:lnTo>
                      <a:pt x="169704" y="1130300"/>
                    </a:lnTo>
                    <a:lnTo>
                      <a:pt x="162521" y="1117600"/>
                    </a:lnTo>
                    <a:lnTo>
                      <a:pt x="154199" y="1079500"/>
                    </a:lnTo>
                    <a:lnTo>
                      <a:pt x="161554" y="1041400"/>
                    </a:lnTo>
                    <a:lnTo>
                      <a:pt x="182577" y="1016000"/>
                    </a:lnTo>
                    <a:lnTo>
                      <a:pt x="213592" y="990600"/>
                    </a:lnTo>
                    <a:lnTo>
                      <a:pt x="250923" y="977900"/>
                    </a:lnTo>
                    <a:lnTo>
                      <a:pt x="369121" y="977900"/>
                    </a:lnTo>
                    <a:lnTo>
                      <a:pt x="361667" y="965200"/>
                    </a:lnTo>
                    <a:lnTo>
                      <a:pt x="355075" y="965200"/>
                    </a:lnTo>
                    <a:lnTo>
                      <a:pt x="342560" y="952500"/>
                    </a:lnTo>
                    <a:lnTo>
                      <a:pt x="334782" y="939800"/>
                    </a:lnTo>
                    <a:lnTo>
                      <a:pt x="331588" y="927100"/>
                    </a:lnTo>
                    <a:lnTo>
                      <a:pt x="332825" y="914400"/>
                    </a:lnTo>
                    <a:lnTo>
                      <a:pt x="331345" y="876300"/>
                    </a:lnTo>
                    <a:lnTo>
                      <a:pt x="316482" y="863600"/>
                    </a:lnTo>
                    <a:lnTo>
                      <a:pt x="290400" y="838200"/>
                    </a:lnTo>
                    <a:close/>
                  </a:path>
                  <a:path w="951865" h="1536700">
                    <a:moveTo>
                      <a:pt x="371735" y="762000"/>
                    </a:moveTo>
                    <a:lnTo>
                      <a:pt x="301176" y="762000"/>
                    </a:lnTo>
                    <a:lnTo>
                      <a:pt x="323961" y="800100"/>
                    </a:lnTo>
                    <a:lnTo>
                      <a:pt x="352637" y="838200"/>
                    </a:lnTo>
                    <a:lnTo>
                      <a:pt x="387537" y="863600"/>
                    </a:lnTo>
                    <a:lnTo>
                      <a:pt x="428993" y="889000"/>
                    </a:lnTo>
                    <a:lnTo>
                      <a:pt x="524677" y="889000"/>
                    </a:lnTo>
                    <a:lnTo>
                      <a:pt x="565133" y="863600"/>
                    </a:lnTo>
                    <a:lnTo>
                      <a:pt x="598981" y="838200"/>
                    </a:lnTo>
                    <a:lnTo>
                      <a:pt x="481694" y="838200"/>
                    </a:lnTo>
                    <a:lnTo>
                      <a:pt x="441188" y="825500"/>
                    </a:lnTo>
                    <a:lnTo>
                      <a:pt x="405850" y="812800"/>
                    </a:lnTo>
                    <a:lnTo>
                      <a:pt x="377874" y="774700"/>
                    </a:lnTo>
                    <a:lnTo>
                      <a:pt x="371735" y="762000"/>
                    </a:lnTo>
                    <a:close/>
                  </a:path>
                  <a:path w="951865" h="1536700">
                    <a:moveTo>
                      <a:pt x="702177" y="723900"/>
                    </a:moveTo>
                    <a:lnTo>
                      <a:pt x="544528" y="723900"/>
                    </a:lnTo>
                    <a:lnTo>
                      <a:pt x="590178" y="736600"/>
                    </a:lnTo>
                    <a:lnTo>
                      <a:pt x="576603" y="774700"/>
                    </a:lnTo>
                    <a:lnTo>
                      <a:pt x="552595" y="800100"/>
                    </a:lnTo>
                    <a:lnTo>
                      <a:pt x="520258" y="825500"/>
                    </a:lnTo>
                    <a:lnTo>
                      <a:pt x="481694" y="838200"/>
                    </a:lnTo>
                    <a:lnTo>
                      <a:pt x="598981" y="838200"/>
                    </a:lnTo>
                    <a:lnTo>
                      <a:pt x="626495" y="800100"/>
                    </a:lnTo>
                    <a:lnTo>
                      <a:pt x="647950" y="762000"/>
                    </a:lnTo>
                    <a:lnTo>
                      <a:pt x="755986" y="762000"/>
                    </a:lnTo>
                    <a:lnTo>
                      <a:pt x="738685" y="749300"/>
                    </a:lnTo>
                    <a:lnTo>
                      <a:pt x="702177" y="723900"/>
                    </a:lnTo>
                    <a:close/>
                  </a:path>
                  <a:path w="951865" h="1536700">
                    <a:moveTo>
                      <a:pt x="601701" y="12700"/>
                    </a:moveTo>
                    <a:lnTo>
                      <a:pt x="432560" y="12700"/>
                    </a:lnTo>
                    <a:lnTo>
                      <a:pt x="396401" y="25400"/>
                    </a:lnTo>
                    <a:lnTo>
                      <a:pt x="351709" y="38100"/>
                    </a:lnTo>
                    <a:lnTo>
                      <a:pt x="311077" y="63500"/>
                    </a:lnTo>
                    <a:lnTo>
                      <a:pt x="275013" y="88900"/>
                    </a:lnTo>
                    <a:lnTo>
                      <a:pt x="244027" y="114300"/>
                    </a:lnTo>
                    <a:lnTo>
                      <a:pt x="218625" y="152400"/>
                    </a:lnTo>
                    <a:lnTo>
                      <a:pt x="199317" y="190500"/>
                    </a:lnTo>
                    <a:lnTo>
                      <a:pt x="186610" y="241300"/>
                    </a:lnTo>
                    <a:lnTo>
                      <a:pt x="180155" y="304800"/>
                    </a:lnTo>
                    <a:lnTo>
                      <a:pt x="179520" y="342900"/>
                    </a:lnTo>
                    <a:lnTo>
                      <a:pt x="178710" y="381000"/>
                    </a:lnTo>
                    <a:lnTo>
                      <a:pt x="179644" y="431800"/>
                    </a:lnTo>
                    <a:lnTo>
                      <a:pt x="186812" y="482600"/>
                    </a:lnTo>
                    <a:lnTo>
                      <a:pt x="200475" y="520700"/>
                    </a:lnTo>
                    <a:lnTo>
                      <a:pt x="220895" y="571500"/>
                    </a:lnTo>
                    <a:lnTo>
                      <a:pt x="248334" y="609600"/>
                    </a:lnTo>
                    <a:lnTo>
                      <a:pt x="283055" y="647700"/>
                    </a:lnTo>
                    <a:lnTo>
                      <a:pt x="325319" y="673100"/>
                    </a:lnTo>
                    <a:lnTo>
                      <a:pt x="637663" y="673100"/>
                    </a:lnTo>
                    <a:lnTo>
                      <a:pt x="643886" y="660400"/>
                    </a:lnTo>
                    <a:lnTo>
                      <a:pt x="466044" y="660400"/>
                    </a:lnTo>
                    <a:lnTo>
                      <a:pt x="421727" y="647700"/>
                    </a:lnTo>
                    <a:lnTo>
                      <a:pt x="380584" y="635000"/>
                    </a:lnTo>
                    <a:lnTo>
                      <a:pt x="343266" y="622300"/>
                    </a:lnTo>
                    <a:lnTo>
                      <a:pt x="310423" y="596900"/>
                    </a:lnTo>
                    <a:lnTo>
                      <a:pt x="282705" y="558800"/>
                    </a:lnTo>
                    <a:lnTo>
                      <a:pt x="260762" y="520700"/>
                    </a:lnTo>
                    <a:lnTo>
                      <a:pt x="245246" y="482600"/>
                    </a:lnTo>
                    <a:lnTo>
                      <a:pt x="241495" y="457200"/>
                    </a:lnTo>
                    <a:lnTo>
                      <a:pt x="239040" y="444500"/>
                    </a:lnTo>
                    <a:lnTo>
                      <a:pt x="237136" y="419100"/>
                    </a:lnTo>
                    <a:lnTo>
                      <a:pt x="235035" y="406400"/>
                    </a:lnTo>
                    <a:lnTo>
                      <a:pt x="237003" y="406400"/>
                    </a:lnTo>
                    <a:lnTo>
                      <a:pt x="237145" y="393700"/>
                    </a:lnTo>
                    <a:lnTo>
                      <a:pt x="237365" y="393700"/>
                    </a:lnTo>
                    <a:lnTo>
                      <a:pt x="237357" y="381000"/>
                    </a:lnTo>
                    <a:lnTo>
                      <a:pt x="236813" y="381000"/>
                    </a:lnTo>
                    <a:lnTo>
                      <a:pt x="237180" y="355600"/>
                    </a:lnTo>
                    <a:lnTo>
                      <a:pt x="243760" y="342900"/>
                    </a:lnTo>
                    <a:lnTo>
                      <a:pt x="514053" y="342900"/>
                    </a:lnTo>
                    <a:lnTo>
                      <a:pt x="573623" y="317500"/>
                    </a:lnTo>
                    <a:lnTo>
                      <a:pt x="776380" y="317500"/>
                    </a:lnTo>
                    <a:lnTo>
                      <a:pt x="776197" y="292100"/>
                    </a:lnTo>
                    <a:lnTo>
                      <a:pt x="241423" y="292100"/>
                    </a:lnTo>
                    <a:lnTo>
                      <a:pt x="245585" y="241300"/>
                    </a:lnTo>
                    <a:lnTo>
                      <a:pt x="258567" y="203200"/>
                    </a:lnTo>
                    <a:lnTo>
                      <a:pt x="279694" y="165100"/>
                    </a:lnTo>
                    <a:lnTo>
                      <a:pt x="308291" y="127000"/>
                    </a:lnTo>
                    <a:lnTo>
                      <a:pt x="343683" y="101600"/>
                    </a:lnTo>
                    <a:lnTo>
                      <a:pt x="385195" y="88900"/>
                    </a:lnTo>
                    <a:lnTo>
                      <a:pt x="432152" y="76200"/>
                    </a:lnTo>
                    <a:lnTo>
                      <a:pt x="457004" y="76200"/>
                    </a:lnTo>
                    <a:lnTo>
                      <a:pt x="482047" y="63500"/>
                    </a:lnTo>
                    <a:lnTo>
                      <a:pt x="641943" y="63500"/>
                    </a:lnTo>
                    <a:lnTo>
                      <a:pt x="624404" y="38100"/>
                    </a:lnTo>
                    <a:lnTo>
                      <a:pt x="601701" y="12700"/>
                    </a:lnTo>
                    <a:close/>
                  </a:path>
                  <a:path w="951865" h="1536700">
                    <a:moveTo>
                      <a:pt x="776380" y="317500"/>
                    </a:moveTo>
                    <a:lnTo>
                      <a:pt x="647963" y="317500"/>
                    </a:lnTo>
                    <a:lnTo>
                      <a:pt x="655845" y="330200"/>
                    </a:lnTo>
                    <a:lnTo>
                      <a:pt x="663990" y="330200"/>
                    </a:lnTo>
                    <a:lnTo>
                      <a:pt x="697445" y="342900"/>
                    </a:lnTo>
                    <a:lnTo>
                      <a:pt x="714344" y="355600"/>
                    </a:lnTo>
                    <a:lnTo>
                      <a:pt x="719820" y="381000"/>
                    </a:lnTo>
                    <a:lnTo>
                      <a:pt x="719006" y="419100"/>
                    </a:lnTo>
                    <a:lnTo>
                      <a:pt x="711796" y="469900"/>
                    </a:lnTo>
                    <a:lnTo>
                      <a:pt x="695472" y="520700"/>
                    </a:lnTo>
                    <a:lnTo>
                      <a:pt x="671056" y="558800"/>
                    </a:lnTo>
                    <a:lnTo>
                      <a:pt x="639568" y="596900"/>
                    </a:lnTo>
                    <a:lnTo>
                      <a:pt x="602029" y="622300"/>
                    </a:lnTo>
                    <a:lnTo>
                      <a:pt x="559462" y="647700"/>
                    </a:lnTo>
                    <a:lnTo>
                      <a:pt x="512885" y="660400"/>
                    </a:lnTo>
                    <a:lnTo>
                      <a:pt x="643886" y="660400"/>
                    </a:lnTo>
                    <a:lnTo>
                      <a:pt x="682613" y="635000"/>
                    </a:lnTo>
                    <a:lnTo>
                      <a:pt x="714871" y="596900"/>
                    </a:lnTo>
                    <a:lnTo>
                      <a:pt x="740473" y="558800"/>
                    </a:lnTo>
                    <a:lnTo>
                      <a:pt x="759226" y="520700"/>
                    </a:lnTo>
                    <a:lnTo>
                      <a:pt x="770943" y="469900"/>
                    </a:lnTo>
                    <a:lnTo>
                      <a:pt x="775433" y="419100"/>
                    </a:lnTo>
                    <a:lnTo>
                      <a:pt x="776112" y="368300"/>
                    </a:lnTo>
                    <a:lnTo>
                      <a:pt x="776380" y="317500"/>
                    </a:lnTo>
                    <a:close/>
                  </a:path>
                  <a:path w="951865" h="1536700">
                    <a:moveTo>
                      <a:pt x="642718" y="215900"/>
                    </a:moveTo>
                    <a:lnTo>
                      <a:pt x="590457" y="215900"/>
                    </a:lnTo>
                    <a:lnTo>
                      <a:pt x="581072" y="254000"/>
                    </a:lnTo>
                    <a:lnTo>
                      <a:pt x="561571" y="266700"/>
                    </a:lnTo>
                    <a:lnTo>
                      <a:pt x="534479" y="279400"/>
                    </a:lnTo>
                    <a:lnTo>
                      <a:pt x="502319" y="292100"/>
                    </a:lnTo>
                    <a:lnTo>
                      <a:pt x="776197" y="292100"/>
                    </a:lnTo>
                    <a:lnTo>
                      <a:pt x="776105" y="279400"/>
                    </a:lnTo>
                    <a:lnTo>
                      <a:pt x="685469" y="279400"/>
                    </a:lnTo>
                    <a:lnTo>
                      <a:pt x="665251" y="266700"/>
                    </a:lnTo>
                    <a:lnTo>
                      <a:pt x="651533" y="241300"/>
                    </a:lnTo>
                    <a:lnTo>
                      <a:pt x="642718" y="215900"/>
                    </a:lnTo>
                    <a:close/>
                  </a:path>
                  <a:path w="951865" h="1536700">
                    <a:moveTo>
                      <a:pt x="641943" y="63500"/>
                    </a:moveTo>
                    <a:lnTo>
                      <a:pt x="561677" y="63500"/>
                    </a:lnTo>
                    <a:lnTo>
                      <a:pt x="579422" y="76200"/>
                    </a:lnTo>
                    <a:lnTo>
                      <a:pt x="589026" y="88900"/>
                    </a:lnTo>
                    <a:lnTo>
                      <a:pt x="593937" y="114300"/>
                    </a:lnTo>
                    <a:lnTo>
                      <a:pt x="594610" y="127000"/>
                    </a:lnTo>
                    <a:lnTo>
                      <a:pt x="595524" y="127000"/>
                    </a:lnTo>
                    <a:lnTo>
                      <a:pt x="596274" y="139700"/>
                    </a:lnTo>
                    <a:lnTo>
                      <a:pt x="655209" y="139700"/>
                    </a:lnTo>
                    <a:lnTo>
                      <a:pt x="692831" y="152400"/>
                    </a:lnTo>
                    <a:lnTo>
                      <a:pt x="712738" y="177800"/>
                    </a:lnTo>
                    <a:lnTo>
                      <a:pt x="718524" y="228600"/>
                    </a:lnTo>
                    <a:lnTo>
                      <a:pt x="713787" y="279400"/>
                    </a:lnTo>
                    <a:lnTo>
                      <a:pt x="776105" y="279400"/>
                    </a:lnTo>
                    <a:lnTo>
                      <a:pt x="774785" y="215900"/>
                    </a:lnTo>
                    <a:lnTo>
                      <a:pt x="767687" y="165100"/>
                    </a:lnTo>
                    <a:lnTo>
                      <a:pt x="718196" y="101600"/>
                    </a:lnTo>
                    <a:lnTo>
                      <a:pt x="673350" y="88900"/>
                    </a:lnTo>
                    <a:lnTo>
                      <a:pt x="664024" y="88900"/>
                    </a:lnTo>
                    <a:lnTo>
                      <a:pt x="654970" y="76200"/>
                    </a:lnTo>
                    <a:lnTo>
                      <a:pt x="647254" y="76200"/>
                    </a:lnTo>
                    <a:lnTo>
                      <a:pt x="641943" y="63500"/>
                    </a:lnTo>
                    <a:close/>
                  </a:path>
                  <a:path w="951865" h="1536700">
                    <a:moveTo>
                      <a:pt x="544039" y="0"/>
                    </a:moveTo>
                    <a:lnTo>
                      <a:pt x="506765" y="12700"/>
                    </a:lnTo>
                    <a:lnTo>
                      <a:pt x="574643" y="12700"/>
                    </a:lnTo>
                    <a:lnTo>
                      <a:pt x="544039" y="0"/>
                    </a:lnTo>
                    <a:close/>
                  </a:path>
                </a:pathLst>
              </a:custGeom>
              <a:grpFill/>
            </p:spPr>
            <p:txBody>
              <a:bodyPr wrap="square" lIns="0" tIns="0" rIns="0" bIns="0" rtlCol="0"/>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 name="object 21">
                <a:extLst>
                  <a:ext uri="{FF2B5EF4-FFF2-40B4-BE49-F238E27FC236}">
                    <a16:creationId xmlns:a16="http://schemas.microsoft.com/office/drawing/2014/main" id="{A6F38094-3668-4ED6-B9D7-B864C5E7EC8D}"/>
                  </a:ext>
                </a:extLst>
              </p:cNvPr>
              <p:cNvSpPr/>
              <p:nvPr/>
            </p:nvSpPr>
            <p:spPr>
              <a:xfrm>
                <a:off x="9305932" y="2807844"/>
                <a:ext cx="50800" cy="66040"/>
              </a:xfrm>
              <a:custGeom>
                <a:avLst/>
                <a:gdLst/>
                <a:ahLst/>
                <a:cxnLst/>
                <a:rect l="l" t="t" r="r" b="b"/>
                <a:pathLst>
                  <a:path w="50800" h="66039">
                    <a:moveTo>
                      <a:pt x="27139" y="0"/>
                    </a:moveTo>
                    <a:lnTo>
                      <a:pt x="18384" y="3735"/>
                    </a:lnTo>
                    <a:lnTo>
                      <a:pt x="9836" y="9983"/>
                    </a:lnTo>
                    <a:lnTo>
                      <a:pt x="3154" y="17568"/>
                    </a:lnTo>
                    <a:lnTo>
                      <a:pt x="0" y="25311"/>
                    </a:lnTo>
                    <a:lnTo>
                      <a:pt x="1843" y="32890"/>
                    </a:lnTo>
                    <a:lnTo>
                      <a:pt x="8004" y="41724"/>
                    </a:lnTo>
                    <a:lnTo>
                      <a:pt x="16998" y="52412"/>
                    </a:lnTo>
                    <a:lnTo>
                      <a:pt x="27343" y="65557"/>
                    </a:lnTo>
                    <a:lnTo>
                      <a:pt x="36017" y="52019"/>
                    </a:lnTo>
                    <a:lnTo>
                      <a:pt x="43529" y="41016"/>
                    </a:lnTo>
                    <a:lnTo>
                      <a:pt x="48745" y="31758"/>
                    </a:lnTo>
                    <a:lnTo>
                      <a:pt x="50533" y="23456"/>
                    </a:lnTo>
                    <a:lnTo>
                      <a:pt x="47585" y="15909"/>
                    </a:lnTo>
                    <a:lnTo>
                      <a:pt x="40970" y="7899"/>
                    </a:lnTo>
                    <a:lnTo>
                      <a:pt x="33288" y="1804"/>
                    </a:lnTo>
                    <a:lnTo>
                      <a:pt x="27139" y="0"/>
                    </a:lnTo>
                    <a:close/>
                  </a:path>
                </a:pathLst>
              </a:custGeom>
              <a:grpFill/>
            </p:spPr>
            <p:txBody>
              <a:bodyPr wrap="square" lIns="0" tIns="0" rIns="0" bIns="0" rtlCol="0"/>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 name="object 22">
                <a:extLst>
                  <a:ext uri="{FF2B5EF4-FFF2-40B4-BE49-F238E27FC236}">
                    <a16:creationId xmlns:a16="http://schemas.microsoft.com/office/drawing/2014/main" id="{6A0B7F2E-0D91-4EBC-A950-7F276C5B1196}"/>
                  </a:ext>
                </a:extLst>
              </p:cNvPr>
              <p:cNvSpPr/>
              <p:nvPr/>
            </p:nvSpPr>
            <p:spPr>
              <a:xfrm>
                <a:off x="9432652" y="2248955"/>
                <a:ext cx="162560" cy="77470"/>
              </a:xfrm>
              <a:custGeom>
                <a:avLst/>
                <a:gdLst/>
                <a:ahLst/>
                <a:cxnLst/>
                <a:rect l="l" t="t" r="r" b="b"/>
                <a:pathLst>
                  <a:path w="162559" h="77469">
                    <a:moveTo>
                      <a:pt x="162471" y="0"/>
                    </a:moveTo>
                    <a:lnTo>
                      <a:pt x="0" y="0"/>
                    </a:lnTo>
                    <a:lnTo>
                      <a:pt x="12007" y="34291"/>
                    </a:lnTo>
                    <a:lnTo>
                      <a:pt x="29825" y="58391"/>
                    </a:lnTo>
                    <a:lnTo>
                      <a:pt x="53349" y="72523"/>
                    </a:lnTo>
                    <a:lnTo>
                      <a:pt x="82473" y="76911"/>
                    </a:lnTo>
                    <a:lnTo>
                      <a:pt x="111911" y="71780"/>
                    </a:lnTo>
                    <a:lnTo>
                      <a:pt x="135226" y="57238"/>
                    </a:lnTo>
                    <a:lnTo>
                      <a:pt x="152164" y="33305"/>
                    </a:lnTo>
                    <a:lnTo>
                      <a:pt x="162471" y="0"/>
                    </a:lnTo>
                    <a:close/>
                  </a:path>
                </a:pathLst>
              </a:custGeom>
              <a:grpFill/>
            </p:spPr>
            <p:txBody>
              <a:bodyPr wrap="square" lIns="0" tIns="0" rIns="0" bIns="0" rtlCol="0"/>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Segoe UI"/>
                  <a:ea typeface="+mn-ea"/>
                  <a:cs typeface="+mn-cs"/>
                </a:endParaRPr>
              </a:p>
            </p:txBody>
          </p:sp>
          <p:sp>
            <p:nvSpPr>
              <p:cNvPr id="43" name="object 23">
                <a:extLst>
                  <a:ext uri="{FF2B5EF4-FFF2-40B4-BE49-F238E27FC236}">
                    <a16:creationId xmlns:a16="http://schemas.microsoft.com/office/drawing/2014/main" id="{A2B3371B-D963-457B-8D1B-89C00780388B}"/>
                  </a:ext>
                </a:extLst>
              </p:cNvPr>
              <p:cNvSpPr/>
              <p:nvPr/>
            </p:nvSpPr>
            <p:spPr>
              <a:xfrm>
                <a:off x="9305932" y="2807844"/>
                <a:ext cx="50800" cy="66040"/>
              </a:xfrm>
              <a:custGeom>
                <a:avLst/>
                <a:gdLst/>
                <a:ahLst/>
                <a:cxnLst/>
                <a:rect l="l" t="t" r="r" b="b"/>
                <a:pathLst>
                  <a:path w="50800" h="66039">
                    <a:moveTo>
                      <a:pt x="27139" y="0"/>
                    </a:moveTo>
                    <a:lnTo>
                      <a:pt x="18384" y="3735"/>
                    </a:lnTo>
                    <a:lnTo>
                      <a:pt x="9836" y="9983"/>
                    </a:lnTo>
                    <a:lnTo>
                      <a:pt x="3154" y="17568"/>
                    </a:lnTo>
                    <a:lnTo>
                      <a:pt x="0" y="25311"/>
                    </a:lnTo>
                    <a:lnTo>
                      <a:pt x="1843" y="32890"/>
                    </a:lnTo>
                    <a:lnTo>
                      <a:pt x="8004" y="41724"/>
                    </a:lnTo>
                    <a:lnTo>
                      <a:pt x="16998" y="52412"/>
                    </a:lnTo>
                    <a:lnTo>
                      <a:pt x="27343" y="65557"/>
                    </a:lnTo>
                    <a:lnTo>
                      <a:pt x="36017" y="52019"/>
                    </a:lnTo>
                    <a:lnTo>
                      <a:pt x="43529" y="41016"/>
                    </a:lnTo>
                    <a:lnTo>
                      <a:pt x="48745" y="31758"/>
                    </a:lnTo>
                    <a:lnTo>
                      <a:pt x="50533" y="23456"/>
                    </a:lnTo>
                    <a:lnTo>
                      <a:pt x="47585" y="15909"/>
                    </a:lnTo>
                    <a:lnTo>
                      <a:pt x="40970" y="7899"/>
                    </a:lnTo>
                    <a:lnTo>
                      <a:pt x="33288" y="1804"/>
                    </a:lnTo>
                    <a:lnTo>
                      <a:pt x="27139" y="0"/>
                    </a:lnTo>
                    <a:close/>
                  </a:path>
                </a:pathLst>
              </a:custGeom>
              <a:grpFill/>
            </p:spPr>
            <p:txBody>
              <a:bodyPr wrap="square" lIns="0" tIns="0" rIns="0" bIns="0" rtlCol="0"/>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39" name="object 9">
              <a:extLst>
                <a:ext uri="{FF2B5EF4-FFF2-40B4-BE49-F238E27FC236}">
                  <a16:creationId xmlns:a16="http://schemas.microsoft.com/office/drawing/2014/main" id="{DC8B08C8-6479-49F3-8D6C-F8C837F63A11}"/>
                </a:ext>
              </a:extLst>
            </p:cNvPr>
            <p:cNvSpPr/>
            <p:nvPr/>
          </p:nvSpPr>
          <p:spPr>
            <a:xfrm>
              <a:off x="8901170" y="6084617"/>
              <a:ext cx="207512" cy="493735"/>
            </a:xfrm>
            <a:custGeom>
              <a:avLst/>
              <a:gdLst/>
              <a:ahLst/>
              <a:cxnLst/>
              <a:rect l="l" t="t" r="r" b="b"/>
              <a:pathLst>
                <a:path w="497204" h="1183004">
                  <a:moveTo>
                    <a:pt x="54101" y="311454"/>
                  </a:moveTo>
                  <a:lnTo>
                    <a:pt x="0" y="311454"/>
                  </a:lnTo>
                  <a:lnTo>
                    <a:pt x="0" y="1182509"/>
                  </a:lnTo>
                  <a:lnTo>
                    <a:pt x="55079" y="1182509"/>
                  </a:lnTo>
                  <a:lnTo>
                    <a:pt x="55079" y="599186"/>
                  </a:lnTo>
                  <a:lnTo>
                    <a:pt x="340546" y="599186"/>
                  </a:lnTo>
                  <a:lnTo>
                    <a:pt x="403326" y="598411"/>
                  </a:lnTo>
                  <a:lnTo>
                    <a:pt x="497039" y="598411"/>
                  </a:lnTo>
                  <a:lnTo>
                    <a:pt x="497039" y="541337"/>
                  </a:lnTo>
                  <a:lnTo>
                    <a:pt x="395858" y="541337"/>
                  </a:lnTo>
                  <a:lnTo>
                    <a:pt x="335893" y="540486"/>
                  </a:lnTo>
                  <a:lnTo>
                    <a:pt x="100622" y="540486"/>
                  </a:lnTo>
                  <a:lnTo>
                    <a:pt x="89886" y="540204"/>
                  </a:lnTo>
                  <a:lnTo>
                    <a:pt x="78795" y="539526"/>
                  </a:lnTo>
                  <a:lnTo>
                    <a:pt x="54101" y="537756"/>
                  </a:lnTo>
                  <a:lnTo>
                    <a:pt x="54101" y="311454"/>
                  </a:lnTo>
                  <a:close/>
                </a:path>
                <a:path w="497204" h="1183004">
                  <a:moveTo>
                    <a:pt x="497039" y="598411"/>
                  </a:moveTo>
                  <a:lnTo>
                    <a:pt x="403326" y="598411"/>
                  </a:lnTo>
                  <a:lnTo>
                    <a:pt x="423661" y="600366"/>
                  </a:lnTo>
                  <a:lnTo>
                    <a:pt x="435964" y="607534"/>
                  </a:lnTo>
                  <a:lnTo>
                    <a:pt x="441986" y="620587"/>
                  </a:lnTo>
                  <a:lnTo>
                    <a:pt x="443483" y="640194"/>
                  </a:lnTo>
                  <a:lnTo>
                    <a:pt x="443148" y="689938"/>
                  </a:lnTo>
                  <a:lnTo>
                    <a:pt x="442916" y="739683"/>
                  </a:lnTo>
                  <a:lnTo>
                    <a:pt x="442772" y="789430"/>
                  </a:lnTo>
                  <a:lnTo>
                    <a:pt x="442704" y="938673"/>
                  </a:lnTo>
                  <a:lnTo>
                    <a:pt x="442861" y="1181341"/>
                  </a:lnTo>
                  <a:lnTo>
                    <a:pt x="497039" y="1181341"/>
                  </a:lnTo>
                  <a:lnTo>
                    <a:pt x="497039" y="598411"/>
                  </a:lnTo>
                  <a:close/>
                </a:path>
                <a:path w="497204" h="1183004">
                  <a:moveTo>
                    <a:pt x="340546" y="599186"/>
                  </a:moveTo>
                  <a:lnTo>
                    <a:pt x="55079" y="599186"/>
                  </a:lnTo>
                  <a:lnTo>
                    <a:pt x="206354" y="599512"/>
                  </a:lnTo>
                  <a:lnTo>
                    <a:pt x="340546" y="599186"/>
                  </a:lnTo>
                  <a:close/>
                </a:path>
                <a:path w="497204" h="1183004">
                  <a:moveTo>
                    <a:pt x="497039" y="0"/>
                  </a:moveTo>
                  <a:lnTo>
                    <a:pt x="444830" y="0"/>
                  </a:lnTo>
                  <a:lnTo>
                    <a:pt x="444225" y="11324"/>
                  </a:lnTo>
                  <a:lnTo>
                    <a:pt x="443614" y="21929"/>
                  </a:lnTo>
                  <a:lnTo>
                    <a:pt x="443140" y="32054"/>
                  </a:lnTo>
                  <a:lnTo>
                    <a:pt x="442950" y="41935"/>
                  </a:lnTo>
                  <a:lnTo>
                    <a:pt x="442868" y="92270"/>
                  </a:lnTo>
                  <a:lnTo>
                    <a:pt x="442591" y="192940"/>
                  </a:lnTo>
                  <a:lnTo>
                    <a:pt x="442517" y="343939"/>
                  </a:lnTo>
                  <a:lnTo>
                    <a:pt x="442750" y="394268"/>
                  </a:lnTo>
                  <a:lnTo>
                    <a:pt x="443181" y="444595"/>
                  </a:lnTo>
                  <a:lnTo>
                    <a:pt x="443852" y="494919"/>
                  </a:lnTo>
                  <a:lnTo>
                    <a:pt x="441639" y="518648"/>
                  </a:lnTo>
                  <a:lnTo>
                    <a:pt x="433485" y="532968"/>
                  </a:lnTo>
                  <a:lnTo>
                    <a:pt x="418516" y="539867"/>
                  </a:lnTo>
                  <a:lnTo>
                    <a:pt x="395858" y="541337"/>
                  </a:lnTo>
                  <a:lnTo>
                    <a:pt x="497039" y="541337"/>
                  </a:lnTo>
                  <a:lnTo>
                    <a:pt x="497039" y="0"/>
                  </a:lnTo>
                  <a:close/>
                </a:path>
                <a:path w="497204" h="1183004">
                  <a:moveTo>
                    <a:pt x="248254" y="540207"/>
                  </a:moveTo>
                  <a:lnTo>
                    <a:pt x="100622" y="540486"/>
                  </a:lnTo>
                  <a:lnTo>
                    <a:pt x="335893" y="540486"/>
                  </a:lnTo>
                  <a:lnTo>
                    <a:pt x="248254" y="540207"/>
                  </a:lnTo>
                  <a:close/>
                </a:path>
              </a:pathLst>
            </a:custGeom>
            <a:solidFill>
              <a:schemeClr val="bg1"/>
            </a:solidFill>
            <a:ln>
              <a:noFill/>
            </a:ln>
          </p:spPr>
          <p:txBody>
            <a:bodyPr wrap="square" lIns="0" tIns="0" rIns="0" bIns="0" rtlCol="0"/>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17217752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par>
                                <p:cTn id="17" presetID="22" presetClass="entr" presetSubtype="4" fill="hold" nodeType="with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wipe(down)">
                                      <p:cBhvr>
                                        <p:cTn id="19" dur="500"/>
                                        <p:tgtEl>
                                          <p:spTgt spid="5"/>
                                        </p:tgtEl>
                                      </p:cBhvr>
                                    </p:animEffect>
                                  </p:childTnLst>
                                </p:cTn>
                              </p:par>
                              <p:par>
                                <p:cTn id="20" presetID="22" presetClass="entr" presetSubtype="4" fill="hold" grpId="0" nodeType="with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wipe(down)">
                                      <p:cBhvr>
                                        <p:cTn id="2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0" grpId="0" animBg="1"/>
      <p:bldP spid="11" grpId="0" animBg="1"/>
      <p:bldP spid="12" grpId="0" animBg="1"/>
    </p:bldLst>
  </p:timing>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9684806"/>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8DA93F-BDC3-469C-B45E-4F63FCE732A5}"/>
              </a:ext>
            </a:extLst>
          </p:cNvPr>
          <p:cNvSpPr>
            <a:spLocks noGrp="1"/>
          </p:cNvSpPr>
          <p:nvPr>
            <p:ph type="title"/>
          </p:nvPr>
        </p:nvSpPr>
        <p:spPr>
          <a:xfrm>
            <a:off x="521344" y="-1052150"/>
            <a:ext cx="11149439" cy="557784"/>
          </a:xfrm>
        </p:spPr>
        <p:txBody>
          <a:bodyPr/>
          <a:lstStyle/>
          <a:p>
            <a:r>
              <a:rPr lang="en-US"/>
              <a:t>Click to edit Master title style</a:t>
            </a:r>
          </a:p>
        </p:txBody>
      </p:sp>
    </p:spTree>
    <p:extLst>
      <p:ext uri="{BB962C8B-B14F-4D97-AF65-F5344CB8AC3E}">
        <p14:creationId xmlns:p14="http://schemas.microsoft.com/office/powerpoint/2010/main" val="1399936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BFB9C4-0A97-41AC-9E63-D17CF602260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F6BC83B2-A7DF-4163-BE01-4485DD11E1AC}"/>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FFE67A3-AF7D-45BC-9C6E-F5864DFBB8C2}"/>
              </a:ext>
            </a:extLst>
          </p:cNvPr>
          <p:cNvSpPr>
            <a:spLocks noGrp="1"/>
          </p:cNvSpPr>
          <p:nvPr>
            <p:ph type="dt" sz="half" idx="10"/>
          </p:nvPr>
        </p:nvSpPr>
        <p:spPr/>
        <p:txBody>
          <a:bodyPr/>
          <a:lstStyle/>
          <a:p>
            <a:fld id="{F57533FA-4E36-41A4-900E-A86322AE6242}" type="datetimeFigureOut">
              <a:rPr lang="en-GB" smtClean="0"/>
              <a:t>25/05/2021</a:t>
            </a:fld>
            <a:endParaRPr lang="en-GB"/>
          </a:p>
        </p:txBody>
      </p:sp>
      <p:sp>
        <p:nvSpPr>
          <p:cNvPr id="5" name="Footer Placeholder 4">
            <a:extLst>
              <a:ext uri="{FF2B5EF4-FFF2-40B4-BE49-F238E27FC236}">
                <a16:creationId xmlns:a16="http://schemas.microsoft.com/office/drawing/2014/main" id="{46B5A584-6F45-47EA-9414-0034236B566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3132716-172A-4C10-9A49-DFF3D41E3514}"/>
              </a:ext>
            </a:extLst>
          </p:cNvPr>
          <p:cNvSpPr>
            <a:spLocks noGrp="1"/>
          </p:cNvSpPr>
          <p:nvPr>
            <p:ph type="sldNum" sz="quarter" idx="12"/>
          </p:nvPr>
        </p:nvSpPr>
        <p:spPr/>
        <p:txBody>
          <a:bodyPr/>
          <a:lstStyle/>
          <a:p>
            <a:fld id="{9518AE20-329B-43EC-AEEE-651E0F6C168C}" type="slidenum">
              <a:rPr lang="en-GB" smtClean="0"/>
              <a:t>‹#›</a:t>
            </a:fld>
            <a:endParaRPr lang="en-GB"/>
          </a:p>
        </p:txBody>
      </p:sp>
    </p:spTree>
    <p:extLst>
      <p:ext uri="{BB962C8B-B14F-4D97-AF65-F5344CB8AC3E}">
        <p14:creationId xmlns:p14="http://schemas.microsoft.com/office/powerpoint/2010/main" val="10932223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68F363-97D0-46AF-B758-E069127AFE6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03F360CE-4A42-472C-9BC9-20CC1A8468D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983736F9-3C7F-4E61-B919-D8131F985332}"/>
              </a:ext>
            </a:extLst>
          </p:cNvPr>
          <p:cNvSpPr>
            <a:spLocks noGrp="1"/>
          </p:cNvSpPr>
          <p:nvPr>
            <p:ph type="dt" sz="half" idx="10"/>
          </p:nvPr>
        </p:nvSpPr>
        <p:spPr/>
        <p:txBody>
          <a:bodyPr/>
          <a:lstStyle/>
          <a:p>
            <a:fld id="{F57533FA-4E36-41A4-900E-A86322AE6242}" type="datetimeFigureOut">
              <a:rPr lang="en-GB" smtClean="0"/>
              <a:t>25/05/2021</a:t>
            </a:fld>
            <a:endParaRPr lang="en-GB"/>
          </a:p>
        </p:txBody>
      </p:sp>
      <p:sp>
        <p:nvSpPr>
          <p:cNvPr id="5" name="Footer Placeholder 4">
            <a:extLst>
              <a:ext uri="{FF2B5EF4-FFF2-40B4-BE49-F238E27FC236}">
                <a16:creationId xmlns:a16="http://schemas.microsoft.com/office/drawing/2014/main" id="{C5D1135B-AD68-4C80-903E-6FFA4F3311D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A10FF0E-4A86-49B0-8B88-85B065C4D521}"/>
              </a:ext>
            </a:extLst>
          </p:cNvPr>
          <p:cNvSpPr>
            <a:spLocks noGrp="1"/>
          </p:cNvSpPr>
          <p:nvPr>
            <p:ph type="sldNum" sz="quarter" idx="12"/>
          </p:nvPr>
        </p:nvSpPr>
        <p:spPr/>
        <p:txBody>
          <a:bodyPr/>
          <a:lstStyle/>
          <a:p>
            <a:fld id="{9518AE20-329B-43EC-AEEE-651E0F6C168C}" type="slidenum">
              <a:rPr lang="en-GB" smtClean="0"/>
              <a:t>‹#›</a:t>
            </a:fld>
            <a:endParaRPr lang="en-GB"/>
          </a:p>
        </p:txBody>
      </p:sp>
    </p:spTree>
    <p:extLst>
      <p:ext uri="{BB962C8B-B14F-4D97-AF65-F5344CB8AC3E}">
        <p14:creationId xmlns:p14="http://schemas.microsoft.com/office/powerpoint/2010/main" val="24276855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80CDF1-4B7F-4FB4-A00F-48B86BB21DC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4A8F1F6-071E-426B-8951-BE65E3CEA502}"/>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7CCDD2E5-2388-4D7C-A087-191B30E63D56}"/>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420755D7-D5AE-4DCE-BF2A-45E49FDB2212}"/>
              </a:ext>
            </a:extLst>
          </p:cNvPr>
          <p:cNvSpPr>
            <a:spLocks noGrp="1"/>
          </p:cNvSpPr>
          <p:nvPr>
            <p:ph type="dt" sz="half" idx="10"/>
          </p:nvPr>
        </p:nvSpPr>
        <p:spPr/>
        <p:txBody>
          <a:bodyPr/>
          <a:lstStyle/>
          <a:p>
            <a:fld id="{F57533FA-4E36-41A4-900E-A86322AE6242}" type="datetimeFigureOut">
              <a:rPr lang="en-GB" smtClean="0"/>
              <a:t>25/05/2021</a:t>
            </a:fld>
            <a:endParaRPr lang="en-GB"/>
          </a:p>
        </p:txBody>
      </p:sp>
      <p:sp>
        <p:nvSpPr>
          <p:cNvPr id="6" name="Footer Placeholder 5">
            <a:extLst>
              <a:ext uri="{FF2B5EF4-FFF2-40B4-BE49-F238E27FC236}">
                <a16:creationId xmlns:a16="http://schemas.microsoft.com/office/drawing/2014/main" id="{DEF5224C-A8BF-4522-8E18-A8D454E5A13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D038418-2842-4691-89BF-D0771F5C1DB5}"/>
              </a:ext>
            </a:extLst>
          </p:cNvPr>
          <p:cNvSpPr>
            <a:spLocks noGrp="1"/>
          </p:cNvSpPr>
          <p:nvPr>
            <p:ph type="sldNum" sz="quarter" idx="12"/>
          </p:nvPr>
        </p:nvSpPr>
        <p:spPr/>
        <p:txBody>
          <a:bodyPr/>
          <a:lstStyle/>
          <a:p>
            <a:fld id="{9518AE20-329B-43EC-AEEE-651E0F6C168C}" type="slidenum">
              <a:rPr lang="en-GB" smtClean="0"/>
              <a:t>‹#›</a:t>
            </a:fld>
            <a:endParaRPr lang="en-GB"/>
          </a:p>
        </p:txBody>
      </p:sp>
    </p:spTree>
    <p:extLst>
      <p:ext uri="{BB962C8B-B14F-4D97-AF65-F5344CB8AC3E}">
        <p14:creationId xmlns:p14="http://schemas.microsoft.com/office/powerpoint/2010/main" val="143629490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29E45E-415E-4D7B-8CC3-3314E095F4FF}"/>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1BF8231-285D-4D08-BCCC-D20F3F6B2E8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4D6896A5-FC40-4DCB-8DB7-4A8DED699542}"/>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E4B1D582-648D-40BD-894F-9AF14B4B260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1CA46AA1-4FFD-463D-9692-05056C3EF502}"/>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C1B395CE-01C7-4230-A90B-9D9F5ACFE3DC}"/>
              </a:ext>
            </a:extLst>
          </p:cNvPr>
          <p:cNvSpPr>
            <a:spLocks noGrp="1"/>
          </p:cNvSpPr>
          <p:nvPr>
            <p:ph type="dt" sz="half" idx="10"/>
          </p:nvPr>
        </p:nvSpPr>
        <p:spPr/>
        <p:txBody>
          <a:bodyPr/>
          <a:lstStyle/>
          <a:p>
            <a:fld id="{F57533FA-4E36-41A4-900E-A86322AE6242}" type="datetimeFigureOut">
              <a:rPr lang="en-GB" smtClean="0"/>
              <a:t>25/05/2021</a:t>
            </a:fld>
            <a:endParaRPr lang="en-GB"/>
          </a:p>
        </p:txBody>
      </p:sp>
      <p:sp>
        <p:nvSpPr>
          <p:cNvPr id="8" name="Footer Placeholder 7">
            <a:extLst>
              <a:ext uri="{FF2B5EF4-FFF2-40B4-BE49-F238E27FC236}">
                <a16:creationId xmlns:a16="http://schemas.microsoft.com/office/drawing/2014/main" id="{FBFFA595-37AB-4F1C-8C16-F97DB90B68B6}"/>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4F38ACB7-FEAC-44B3-8BC3-1227AB2EA6B6}"/>
              </a:ext>
            </a:extLst>
          </p:cNvPr>
          <p:cNvSpPr>
            <a:spLocks noGrp="1"/>
          </p:cNvSpPr>
          <p:nvPr>
            <p:ph type="sldNum" sz="quarter" idx="12"/>
          </p:nvPr>
        </p:nvSpPr>
        <p:spPr/>
        <p:txBody>
          <a:bodyPr/>
          <a:lstStyle/>
          <a:p>
            <a:fld id="{9518AE20-329B-43EC-AEEE-651E0F6C168C}" type="slidenum">
              <a:rPr lang="en-GB" smtClean="0"/>
              <a:t>‹#›</a:t>
            </a:fld>
            <a:endParaRPr lang="en-GB"/>
          </a:p>
        </p:txBody>
      </p:sp>
    </p:spTree>
    <p:extLst>
      <p:ext uri="{BB962C8B-B14F-4D97-AF65-F5344CB8AC3E}">
        <p14:creationId xmlns:p14="http://schemas.microsoft.com/office/powerpoint/2010/main" val="9489086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4D1F62-A552-4F02-82E8-CA550F2C9A0C}"/>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2534A5E1-D4F8-437F-96AF-52026B254BE2}"/>
              </a:ext>
            </a:extLst>
          </p:cNvPr>
          <p:cNvSpPr>
            <a:spLocks noGrp="1"/>
          </p:cNvSpPr>
          <p:nvPr>
            <p:ph type="dt" sz="half" idx="10"/>
          </p:nvPr>
        </p:nvSpPr>
        <p:spPr/>
        <p:txBody>
          <a:bodyPr/>
          <a:lstStyle/>
          <a:p>
            <a:fld id="{F57533FA-4E36-41A4-900E-A86322AE6242}" type="datetimeFigureOut">
              <a:rPr lang="en-GB" smtClean="0"/>
              <a:t>25/05/2021</a:t>
            </a:fld>
            <a:endParaRPr lang="en-GB"/>
          </a:p>
        </p:txBody>
      </p:sp>
      <p:sp>
        <p:nvSpPr>
          <p:cNvPr id="4" name="Footer Placeholder 3">
            <a:extLst>
              <a:ext uri="{FF2B5EF4-FFF2-40B4-BE49-F238E27FC236}">
                <a16:creationId xmlns:a16="http://schemas.microsoft.com/office/drawing/2014/main" id="{1CDCBC15-93D1-4716-96D9-1EC5379D9503}"/>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66855C10-870F-439D-9C2B-2C13E8C400F5}"/>
              </a:ext>
            </a:extLst>
          </p:cNvPr>
          <p:cNvSpPr>
            <a:spLocks noGrp="1"/>
          </p:cNvSpPr>
          <p:nvPr>
            <p:ph type="sldNum" sz="quarter" idx="12"/>
          </p:nvPr>
        </p:nvSpPr>
        <p:spPr/>
        <p:txBody>
          <a:bodyPr/>
          <a:lstStyle/>
          <a:p>
            <a:fld id="{9518AE20-329B-43EC-AEEE-651E0F6C168C}" type="slidenum">
              <a:rPr lang="en-GB" smtClean="0"/>
              <a:t>‹#›</a:t>
            </a:fld>
            <a:endParaRPr lang="en-GB"/>
          </a:p>
        </p:txBody>
      </p:sp>
    </p:spTree>
    <p:extLst>
      <p:ext uri="{BB962C8B-B14F-4D97-AF65-F5344CB8AC3E}">
        <p14:creationId xmlns:p14="http://schemas.microsoft.com/office/powerpoint/2010/main" val="296953341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1F161C9-7EB7-4A56-A127-12F74F2950D0}"/>
              </a:ext>
            </a:extLst>
          </p:cNvPr>
          <p:cNvSpPr>
            <a:spLocks noGrp="1"/>
          </p:cNvSpPr>
          <p:nvPr>
            <p:ph type="dt" sz="half" idx="10"/>
          </p:nvPr>
        </p:nvSpPr>
        <p:spPr/>
        <p:txBody>
          <a:bodyPr/>
          <a:lstStyle/>
          <a:p>
            <a:fld id="{F57533FA-4E36-41A4-900E-A86322AE6242}" type="datetimeFigureOut">
              <a:rPr lang="en-GB" smtClean="0"/>
              <a:t>25/05/2021</a:t>
            </a:fld>
            <a:endParaRPr lang="en-GB"/>
          </a:p>
        </p:txBody>
      </p:sp>
      <p:sp>
        <p:nvSpPr>
          <p:cNvPr id="3" name="Footer Placeholder 2">
            <a:extLst>
              <a:ext uri="{FF2B5EF4-FFF2-40B4-BE49-F238E27FC236}">
                <a16:creationId xmlns:a16="http://schemas.microsoft.com/office/drawing/2014/main" id="{2A43CFF9-F6CE-48C1-BA93-968AA493A386}"/>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F5A8B175-7913-4B68-844E-06E5E5425526}"/>
              </a:ext>
            </a:extLst>
          </p:cNvPr>
          <p:cNvSpPr>
            <a:spLocks noGrp="1"/>
          </p:cNvSpPr>
          <p:nvPr>
            <p:ph type="sldNum" sz="quarter" idx="12"/>
          </p:nvPr>
        </p:nvSpPr>
        <p:spPr/>
        <p:txBody>
          <a:bodyPr/>
          <a:lstStyle/>
          <a:p>
            <a:fld id="{9518AE20-329B-43EC-AEEE-651E0F6C168C}" type="slidenum">
              <a:rPr lang="en-GB" smtClean="0"/>
              <a:t>‹#›</a:t>
            </a:fld>
            <a:endParaRPr lang="en-GB"/>
          </a:p>
        </p:txBody>
      </p:sp>
    </p:spTree>
    <p:extLst>
      <p:ext uri="{BB962C8B-B14F-4D97-AF65-F5344CB8AC3E}">
        <p14:creationId xmlns:p14="http://schemas.microsoft.com/office/powerpoint/2010/main" val="16854772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62E2BB-751D-42C4-BEB0-E2F18B2BFDC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B9386F4A-4B96-4F6E-80DF-24DB425E7E6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51A091A4-BB75-45DE-B6B2-6180BACAD4B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19F42C4-535D-483A-A56E-40FFC0C11E67}"/>
              </a:ext>
            </a:extLst>
          </p:cNvPr>
          <p:cNvSpPr>
            <a:spLocks noGrp="1"/>
          </p:cNvSpPr>
          <p:nvPr>
            <p:ph type="dt" sz="half" idx="10"/>
          </p:nvPr>
        </p:nvSpPr>
        <p:spPr/>
        <p:txBody>
          <a:bodyPr/>
          <a:lstStyle/>
          <a:p>
            <a:fld id="{F57533FA-4E36-41A4-900E-A86322AE6242}" type="datetimeFigureOut">
              <a:rPr lang="en-GB" smtClean="0"/>
              <a:t>25/05/2021</a:t>
            </a:fld>
            <a:endParaRPr lang="en-GB"/>
          </a:p>
        </p:txBody>
      </p:sp>
      <p:sp>
        <p:nvSpPr>
          <p:cNvPr id="6" name="Footer Placeholder 5">
            <a:extLst>
              <a:ext uri="{FF2B5EF4-FFF2-40B4-BE49-F238E27FC236}">
                <a16:creationId xmlns:a16="http://schemas.microsoft.com/office/drawing/2014/main" id="{57F66240-8753-44E5-8F12-59C76B9E635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9C987E9-40EF-410A-8092-514683E1DBD1}"/>
              </a:ext>
            </a:extLst>
          </p:cNvPr>
          <p:cNvSpPr>
            <a:spLocks noGrp="1"/>
          </p:cNvSpPr>
          <p:nvPr>
            <p:ph type="sldNum" sz="quarter" idx="12"/>
          </p:nvPr>
        </p:nvSpPr>
        <p:spPr/>
        <p:txBody>
          <a:bodyPr/>
          <a:lstStyle/>
          <a:p>
            <a:fld id="{9518AE20-329B-43EC-AEEE-651E0F6C168C}" type="slidenum">
              <a:rPr lang="en-GB" smtClean="0"/>
              <a:t>‹#›</a:t>
            </a:fld>
            <a:endParaRPr lang="en-GB"/>
          </a:p>
        </p:txBody>
      </p:sp>
    </p:spTree>
    <p:extLst>
      <p:ext uri="{BB962C8B-B14F-4D97-AF65-F5344CB8AC3E}">
        <p14:creationId xmlns:p14="http://schemas.microsoft.com/office/powerpoint/2010/main" val="395008443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C0BB52-60FB-41DD-B559-5B93DFCD930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0FCBF5B3-B48A-4B9E-A3F4-61F47C16501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0DAFBE03-B020-4FDB-9CD2-D9A40C93A0B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B9B80578-FE2A-410F-AE29-1BBDCD951196}"/>
              </a:ext>
            </a:extLst>
          </p:cNvPr>
          <p:cNvSpPr>
            <a:spLocks noGrp="1"/>
          </p:cNvSpPr>
          <p:nvPr>
            <p:ph type="dt" sz="half" idx="10"/>
          </p:nvPr>
        </p:nvSpPr>
        <p:spPr/>
        <p:txBody>
          <a:bodyPr/>
          <a:lstStyle/>
          <a:p>
            <a:fld id="{F57533FA-4E36-41A4-900E-A86322AE6242}" type="datetimeFigureOut">
              <a:rPr lang="en-GB" smtClean="0"/>
              <a:t>25/05/2021</a:t>
            </a:fld>
            <a:endParaRPr lang="en-GB"/>
          </a:p>
        </p:txBody>
      </p:sp>
      <p:sp>
        <p:nvSpPr>
          <p:cNvPr id="6" name="Footer Placeholder 5">
            <a:extLst>
              <a:ext uri="{FF2B5EF4-FFF2-40B4-BE49-F238E27FC236}">
                <a16:creationId xmlns:a16="http://schemas.microsoft.com/office/drawing/2014/main" id="{744CF527-3FAA-4039-958D-39EAC1593A7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691B377-19C7-42C4-A6C1-1E7D34D8FD84}"/>
              </a:ext>
            </a:extLst>
          </p:cNvPr>
          <p:cNvSpPr>
            <a:spLocks noGrp="1"/>
          </p:cNvSpPr>
          <p:nvPr>
            <p:ph type="sldNum" sz="quarter" idx="12"/>
          </p:nvPr>
        </p:nvSpPr>
        <p:spPr/>
        <p:txBody>
          <a:bodyPr/>
          <a:lstStyle/>
          <a:p>
            <a:fld id="{9518AE20-329B-43EC-AEEE-651E0F6C168C}" type="slidenum">
              <a:rPr lang="en-GB" smtClean="0"/>
              <a:t>‹#›</a:t>
            </a:fld>
            <a:endParaRPr lang="en-GB"/>
          </a:p>
        </p:txBody>
      </p:sp>
    </p:spTree>
    <p:extLst>
      <p:ext uri="{BB962C8B-B14F-4D97-AF65-F5344CB8AC3E}">
        <p14:creationId xmlns:p14="http://schemas.microsoft.com/office/powerpoint/2010/main" val="412016962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B4DC3C-249C-44A1-90A0-DB5E3F6132A2}"/>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518648E3-7948-4D21-AFE1-11E15AA469C5}"/>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C465507-916C-4011-9406-BE930F143FAE}"/>
              </a:ext>
            </a:extLst>
          </p:cNvPr>
          <p:cNvSpPr>
            <a:spLocks noGrp="1"/>
          </p:cNvSpPr>
          <p:nvPr>
            <p:ph type="dt" sz="half" idx="10"/>
          </p:nvPr>
        </p:nvSpPr>
        <p:spPr/>
        <p:txBody>
          <a:bodyPr/>
          <a:lstStyle/>
          <a:p>
            <a:fld id="{F57533FA-4E36-41A4-900E-A86322AE6242}" type="datetimeFigureOut">
              <a:rPr lang="en-GB" smtClean="0"/>
              <a:t>25/05/2021</a:t>
            </a:fld>
            <a:endParaRPr lang="en-GB"/>
          </a:p>
        </p:txBody>
      </p:sp>
      <p:sp>
        <p:nvSpPr>
          <p:cNvPr id="5" name="Footer Placeholder 4">
            <a:extLst>
              <a:ext uri="{FF2B5EF4-FFF2-40B4-BE49-F238E27FC236}">
                <a16:creationId xmlns:a16="http://schemas.microsoft.com/office/drawing/2014/main" id="{77CBB6F5-3C0F-48B5-BF96-EB49521F2F2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588BAFF-F67E-4217-880D-992077A90286}"/>
              </a:ext>
            </a:extLst>
          </p:cNvPr>
          <p:cNvSpPr>
            <a:spLocks noGrp="1"/>
          </p:cNvSpPr>
          <p:nvPr>
            <p:ph type="sldNum" sz="quarter" idx="12"/>
          </p:nvPr>
        </p:nvSpPr>
        <p:spPr/>
        <p:txBody>
          <a:bodyPr/>
          <a:lstStyle/>
          <a:p>
            <a:fld id="{9518AE20-329B-43EC-AEEE-651E0F6C168C}" type="slidenum">
              <a:rPr lang="en-GB" smtClean="0"/>
              <a:t>‹#›</a:t>
            </a:fld>
            <a:endParaRPr lang="en-GB"/>
          </a:p>
        </p:txBody>
      </p:sp>
    </p:spTree>
    <p:extLst>
      <p:ext uri="{BB962C8B-B14F-4D97-AF65-F5344CB8AC3E}">
        <p14:creationId xmlns:p14="http://schemas.microsoft.com/office/powerpoint/2010/main" val="32546695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708231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E86B5DB-B3FB-4810-85F1-B3100635BF46}"/>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EC1B85B3-0877-4E17-881A-0231CCE2669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61FA549-526B-4CAF-BCBF-B342FBD7D32C}"/>
              </a:ext>
            </a:extLst>
          </p:cNvPr>
          <p:cNvSpPr>
            <a:spLocks noGrp="1"/>
          </p:cNvSpPr>
          <p:nvPr>
            <p:ph type="dt" sz="half" idx="10"/>
          </p:nvPr>
        </p:nvSpPr>
        <p:spPr/>
        <p:txBody>
          <a:bodyPr/>
          <a:lstStyle/>
          <a:p>
            <a:fld id="{F57533FA-4E36-41A4-900E-A86322AE6242}" type="datetimeFigureOut">
              <a:rPr lang="en-GB" smtClean="0"/>
              <a:t>25/05/2021</a:t>
            </a:fld>
            <a:endParaRPr lang="en-GB"/>
          </a:p>
        </p:txBody>
      </p:sp>
      <p:sp>
        <p:nvSpPr>
          <p:cNvPr id="5" name="Footer Placeholder 4">
            <a:extLst>
              <a:ext uri="{FF2B5EF4-FFF2-40B4-BE49-F238E27FC236}">
                <a16:creationId xmlns:a16="http://schemas.microsoft.com/office/drawing/2014/main" id="{9E450E7F-A573-4F4B-A340-F842520D69E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43D2595-A960-49BA-A8AD-C1D7D27641D5}"/>
              </a:ext>
            </a:extLst>
          </p:cNvPr>
          <p:cNvSpPr>
            <a:spLocks noGrp="1"/>
          </p:cNvSpPr>
          <p:nvPr>
            <p:ph type="sldNum" sz="quarter" idx="12"/>
          </p:nvPr>
        </p:nvSpPr>
        <p:spPr/>
        <p:txBody>
          <a:bodyPr/>
          <a:lstStyle/>
          <a:p>
            <a:fld id="{9518AE20-329B-43EC-AEEE-651E0F6C168C}" type="slidenum">
              <a:rPr lang="en-GB" smtClean="0"/>
              <a:t>‹#›</a:t>
            </a:fld>
            <a:endParaRPr lang="en-GB"/>
          </a:p>
        </p:txBody>
      </p:sp>
    </p:spTree>
    <p:extLst>
      <p:ext uri="{BB962C8B-B14F-4D97-AF65-F5344CB8AC3E}">
        <p14:creationId xmlns:p14="http://schemas.microsoft.com/office/powerpoint/2010/main" val="69534062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73738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square photo">
    <p:bg>
      <p:bgPr>
        <a:solidFill>
          <a:srgbClr val="6B292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FF9349"/>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688126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ntro">
    <p:bg>
      <p:bgPr>
        <a:solidFill>
          <a:srgbClr val="243A5E"/>
        </a:solidFill>
        <a:effectLst/>
      </p:bgPr>
    </p:bg>
    <p:spTree>
      <p:nvGrpSpPr>
        <p:cNvPr id="1" name=""/>
        <p:cNvGrpSpPr/>
        <p:nvPr/>
      </p:nvGrpSpPr>
      <p:grpSpPr>
        <a:xfrm>
          <a:off x="0" y="0"/>
          <a:ext cx="0" cy="0"/>
          <a:chOff x="0" y="0"/>
          <a:chExt cx="0" cy="0"/>
        </a:xfrm>
      </p:grpSpPr>
      <p:sp>
        <p:nvSpPr>
          <p:cNvPr id="25" name="Text Placeholder 23">
            <a:extLst>
              <a:ext uri="{FF2B5EF4-FFF2-40B4-BE49-F238E27FC236}">
                <a16:creationId xmlns:a16="http://schemas.microsoft.com/office/drawing/2014/main" id="{F55C87FC-C940-4E23-8333-8D65FCF7D1DC}"/>
              </a:ext>
            </a:extLst>
          </p:cNvPr>
          <p:cNvSpPr>
            <a:spLocks noGrp="1"/>
          </p:cNvSpPr>
          <p:nvPr>
            <p:ph type="body" sz="quarter" idx="14" hasCustomPrompt="1"/>
          </p:nvPr>
        </p:nvSpPr>
        <p:spPr>
          <a:xfrm>
            <a:off x="538163" y="3790800"/>
            <a:ext cx="5284787" cy="304699"/>
          </a:xfrm>
        </p:spPr>
        <p:txBody>
          <a:bodyPr wrap="square" lIns="0" tIns="0" rIns="0" bIns="0">
            <a:spAutoFit/>
          </a:bodyPr>
          <a:lstStyle>
            <a:lvl1pPr marL="0" indent="0">
              <a:buNone/>
              <a:defRPr sz="2200" b="0">
                <a:solidFill>
                  <a:srgbClr val="FFFFFF"/>
                </a:solidFill>
                <a:latin typeface="+mn-lt"/>
              </a:defRPr>
            </a:lvl1pPr>
            <a:lvl5pPr>
              <a:defRPr/>
            </a:lvl5pPr>
          </a:lstStyle>
          <a:p>
            <a:pPr lvl="0"/>
            <a:r>
              <a:rPr lang="en-US"/>
              <a:t>Speaker name or subtitle</a:t>
            </a:r>
            <a:endParaRPr lang="en-GB"/>
          </a:p>
        </p:txBody>
      </p:sp>
      <p:sp>
        <p:nvSpPr>
          <p:cNvPr id="24" name="Text Placeholder 23">
            <a:extLst>
              <a:ext uri="{FF2B5EF4-FFF2-40B4-BE49-F238E27FC236}">
                <a16:creationId xmlns:a16="http://schemas.microsoft.com/office/drawing/2014/main" id="{8822A64A-1D84-4927-AD59-8802050D0294}"/>
              </a:ext>
            </a:extLst>
          </p:cNvPr>
          <p:cNvSpPr>
            <a:spLocks noGrp="1"/>
          </p:cNvSpPr>
          <p:nvPr>
            <p:ph type="body" sz="quarter" idx="13" hasCustomPrompt="1"/>
          </p:nvPr>
        </p:nvSpPr>
        <p:spPr>
          <a:xfrm>
            <a:off x="538163" y="2431804"/>
            <a:ext cx="5284787" cy="997196"/>
          </a:xfrm>
        </p:spPr>
        <p:txBody>
          <a:bodyPr wrap="square" lIns="0" tIns="0" rIns="0" bIns="0" anchor="b" anchorCtr="0">
            <a:spAutoFit/>
          </a:bodyPr>
          <a:lstStyle>
            <a:lvl1pPr marL="0" indent="0">
              <a:buNone/>
              <a:defRPr sz="3600" b="0">
                <a:solidFill>
                  <a:srgbClr val="50E6FF"/>
                </a:solidFill>
                <a:latin typeface="+mj-lt"/>
              </a:defRPr>
            </a:lvl1pPr>
            <a:lvl5pPr>
              <a:defRPr/>
            </a:lvl5pPr>
          </a:lstStyle>
          <a:p>
            <a:pPr lvl="0"/>
            <a:r>
              <a:rPr lang="en-US"/>
              <a:t>Event name or presentation title</a:t>
            </a:r>
            <a:endParaRPr lang="en-GB"/>
          </a:p>
        </p:txBody>
      </p:sp>
      <p:sp>
        <p:nvSpPr>
          <p:cNvPr id="6" name="Picture Placeholder 2">
            <a:extLst>
              <a:ext uri="{FF2B5EF4-FFF2-40B4-BE49-F238E27FC236}">
                <a16:creationId xmlns:a16="http://schemas.microsoft.com/office/drawing/2014/main" id="{CACCD69A-88C9-4877-AAC3-38CB3918B943}"/>
              </a:ext>
            </a:extLst>
          </p:cNvPr>
          <p:cNvSpPr>
            <a:spLocks noGrp="1"/>
          </p:cNvSpPr>
          <p:nvPr>
            <p:ph type="pic" sz="quarter" idx="12"/>
          </p:nvPr>
        </p:nvSpPr>
        <p:spPr>
          <a:xfrm>
            <a:off x="6369052" y="0"/>
            <a:ext cx="5826125" cy="6858000"/>
          </a:xfrm>
          <a:solidFill>
            <a:srgbClr val="2F2F2F"/>
          </a:solidFill>
        </p:spPr>
        <p:txBody>
          <a:bodyPr/>
          <a:lstStyle>
            <a:lvl1pPr marL="0" indent="0">
              <a:buNone/>
              <a:defRPr/>
            </a:lvl1pPr>
          </a:lstStyle>
          <a:p>
            <a:endParaRPr lang="en-GB"/>
          </a:p>
        </p:txBody>
      </p:sp>
      <p:pic>
        <p:nvPicPr>
          <p:cNvPr id="8" name="MS logo white - EMF" descr="Microsoft logo white text version">
            <a:extLst>
              <a:ext uri="{FF2B5EF4-FFF2-40B4-BE49-F238E27FC236}">
                <a16:creationId xmlns:a16="http://schemas.microsoft.com/office/drawing/2014/main" id="{50ACAD61-AE1F-4197-9DB1-5E111BD7200C}"/>
              </a:ext>
            </a:extLst>
          </p:cNvPr>
          <p:cNvPicPr>
            <a:picLocks noChangeAspect="1"/>
          </p:cNvPicPr>
          <p:nvPr userDrawn="1"/>
        </p:nvPicPr>
        <p:blipFill>
          <a:blip r:embed="rId2"/>
          <a:stretch>
            <a:fillRect/>
          </a:stretch>
        </p:blipFill>
        <p:spPr bwMode="black">
          <a:xfrm>
            <a:off x="538163" y="538163"/>
            <a:ext cx="1366245" cy="292608"/>
          </a:xfrm>
          <a:prstGeom prst="rect">
            <a:avLst/>
          </a:prstGeom>
        </p:spPr>
      </p:pic>
    </p:spTree>
    <p:extLst>
      <p:ext uri="{BB962C8B-B14F-4D97-AF65-F5344CB8AC3E}">
        <p14:creationId xmlns:p14="http://schemas.microsoft.com/office/powerpoint/2010/main" val="31451259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der">
    <p:bg>
      <p:bgPr>
        <a:solidFill>
          <a:srgbClr val="243A5E"/>
        </a:solidFill>
        <a:effectLst/>
      </p:bgPr>
    </p:bg>
    <p:spTree>
      <p:nvGrpSpPr>
        <p:cNvPr id="1" name=""/>
        <p:cNvGrpSpPr/>
        <p:nvPr/>
      </p:nvGrpSpPr>
      <p:grpSpPr>
        <a:xfrm>
          <a:off x="0" y="0"/>
          <a:ext cx="0" cy="0"/>
          <a:chOff x="0" y="0"/>
          <a:chExt cx="0" cy="0"/>
        </a:xfrm>
      </p:grpSpPr>
      <p:sp>
        <p:nvSpPr>
          <p:cNvPr id="24" name="Text Placeholder 23">
            <a:extLst>
              <a:ext uri="{FF2B5EF4-FFF2-40B4-BE49-F238E27FC236}">
                <a16:creationId xmlns:a16="http://schemas.microsoft.com/office/drawing/2014/main" id="{8822A64A-1D84-4927-AD59-8802050D0294}"/>
              </a:ext>
            </a:extLst>
          </p:cNvPr>
          <p:cNvSpPr>
            <a:spLocks noGrp="1"/>
          </p:cNvSpPr>
          <p:nvPr>
            <p:ph type="body" sz="quarter" idx="13" hasCustomPrompt="1"/>
          </p:nvPr>
        </p:nvSpPr>
        <p:spPr>
          <a:xfrm>
            <a:off x="538163" y="3179701"/>
            <a:ext cx="5284787" cy="498598"/>
          </a:xfrm>
        </p:spPr>
        <p:txBody>
          <a:bodyPr wrap="square" lIns="0" tIns="0" rIns="0" bIns="0" anchor="ctr" anchorCtr="0">
            <a:spAutoFit/>
          </a:bodyPr>
          <a:lstStyle>
            <a:lvl1pPr marL="0" indent="0">
              <a:buNone/>
              <a:defRPr sz="3600" b="0">
                <a:solidFill>
                  <a:srgbClr val="50E6FF"/>
                </a:solidFill>
                <a:latin typeface="+mj-lt"/>
              </a:defRPr>
            </a:lvl1pPr>
            <a:lvl5pPr>
              <a:defRPr/>
            </a:lvl5pPr>
          </a:lstStyle>
          <a:p>
            <a:pPr lvl="0"/>
            <a:r>
              <a:rPr lang="en-US"/>
              <a:t>Divider title</a:t>
            </a:r>
            <a:endParaRPr lang="en-GB"/>
          </a:p>
        </p:txBody>
      </p:sp>
    </p:spTree>
    <p:extLst>
      <p:ext uri="{BB962C8B-B14F-4D97-AF65-F5344CB8AC3E}">
        <p14:creationId xmlns:p14="http://schemas.microsoft.com/office/powerpoint/2010/main" val="156844523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56B97E6-9525-48D4-949C-1652A4512696}"/>
              </a:ext>
            </a:extLst>
          </p:cNvPr>
          <p:cNvSpPr/>
          <p:nvPr userDrawn="1"/>
        </p:nvSpPr>
        <p:spPr>
          <a:xfrm>
            <a:off x="0" y="1"/>
            <a:ext cx="4539600" cy="6857999"/>
          </a:xfrm>
          <a:prstGeom prst="rect">
            <a:avLst/>
          </a:prstGeom>
          <a:solidFill>
            <a:srgbClr val="243A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6" name="Text Placeholder 5">
            <a:extLst>
              <a:ext uri="{FF2B5EF4-FFF2-40B4-BE49-F238E27FC236}">
                <a16:creationId xmlns:a16="http://schemas.microsoft.com/office/drawing/2014/main" id="{C0700FF8-C3FA-43B6-99EE-057A17FA5964}"/>
              </a:ext>
            </a:extLst>
          </p:cNvPr>
          <p:cNvSpPr>
            <a:spLocks noGrp="1"/>
          </p:cNvSpPr>
          <p:nvPr>
            <p:ph type="body" sz="quarter" idx="10" hasCustomPrompt="1"/>
          </p:nvPr>
        </p:nvSpPr>
        <p:spPr>
          <a:xfrm>
            <a:off x="538162" y="3179701"/>
            <a:ext cx="3463199" cy="498598"/>
          </a:xfrm>
        </p:spPr>
        <p:txBody>
          <a:bodyPr wrap="square" lIns="0" tIns="0" rIns="0" bIns="0" anchor="ctr" anchorCtr="0">
            <a:spAutoFit/>
          </a:bodyPr>
          <a:lstStyle>
            <a:lvl1pPr marL="0" indent="0">
              <a:buNone/>
              <a:defRPr sz="3600" b="0">
                <a:solidFill>
                  <a:srgbClr val="50E6FF"/>
                </a:solidFill>
                <a:latin typeface="+mj-lt"/>
              </a:defRPr>
            </a:lvl1pPr>
          </a:lstStyle>
          <a:p>
            <a:pPr lvl="0"/>
            <a:r>
              <a:rPr lang="en-GB"/>
              <a:t>Section title</a:t>
            </a:r>
          </a:p>
        </p:txBody>
      </p:sp>
      <p:sp>
        <p:nvSpPr>
          <p:cNvPr id="11" name="Text Placeholder 7">
            <a:extLst>
              <a:ext uri="{FF2B5EF4-FFF2-40B4-BE49-F238E27FC236}">
                <a16:creationId xmlns:a16="http://schemas.microsoft.com/office/drawing/2014/main" id="{2DE404A3-B184-4B1E-9049-DC3AD8C4514C}"/>
              </a:ext>
            </a:extLst>
          </p:cNvPr>
          <p:cNvSpPr>
            <a:spLocks noGrp="1"/>
          </p:cNvSpPr>
          <p:nvPr>
            <p:ph type="body" sz="quarter" idx="12" hasCustomPrompt="1"/>
          </p:nvPr>
        </p:nvSpPr>
        <p:spPr>
          <a:xfrm>
            <a:off x="5054008" y="538164"/>
            <a:ext cx="6591891" cy="5772150"/>
          </a:xfrm>
        </p:spPr>
        <p:txBody>
          <a:bodyPr lIns="0" tIns="0" rIns="0" bIns="0" anchor="ctr" anchorCtr="0">
            <a:normAutofit/>
          </a:bodyPr>
          <a:lstStyle>
            <a:lvl1pPr marL="0" indent="0">
              <a:buNone/>
              <a:defRPr sz="2200">
                <a:solidFill>
                  <a:schemeClr val="tx1"/>
                </a:solidFill>
              </a:defRPr>
            </a:lvl1pPr>
          </a:lstStyle>
          <a:p>
            <a:pPr lvl="0"/>
            <a:r>
              <a:rPr lang="en-US"/>
              <a:t>Our mission is to empower every person and every </a:t>
            </a:r>
            <a:r>
              <a:rPr lang="en-GB" noProof="0"/>
              <a:t>organisation</a:t>
            </a:r>
            <a:r>
              <a:rPr lang="en-US"/>
              <a:t> on the planet to achieve more. We believe technology can and should be a force for good and that meaningful innovation can and will contribute to a brighter world in big and small ways.</a:t>
            </a:r>
          </a:p>
        </p:txBody>
      </p:sp>
    </p:spTree>
    <p:extLst>
      <p:ext uri="{BB962C8B-B14F-4D97-AF65-F5344CB8AC3E}">
        <p14:creationId xmlns:p14="http://schemas.microsoft.com/office/powerpoint/2010/main" val="338545434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Other)">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0700FF8-C3FA-43B6-99EE-057A17FA5964}"/>
              </a:ext>
            </a:extLst>
          </p:cNvPr>
          <p:cNvSpPr>
            <a:spLocks noGrp="1"/>
          </p:cNvSpPr>
          <p:nvPr>
            <p:ph type="body" sz="quarter" idx="10" hasCustomPrompt="1"/>
          </p:nvPr>
        </p:nvSpPr>
        <p:spPr>
          <a:xfrm>
            <a:off x="538162" y="3179701"/>
            <a:ext cx="3463199" cy="498598"/>
          </a:xfrm>
        </p:spPr>
        <p:txBody>
          <a:bodyPr wrap="square" lIns="0" tIns="0" rIns="0" bIns="0" anchor="ctr" anchorCtr="0">
            <a:spAutoFit/>
          </a:bodyPr>
          <a:lstStyle>
            <a:lvl1pPr marL="0" indent="0">
              <a:buNone/>
              <a:defRPr sz="3600" b="0">
                <a:solidFill>
                  <a:srgbClr val="243A5E"/>
                </a:solidFill>
                <a:latin typeface="+mj-lt"/>
              </a:defRPr>
            </a:lvl1pPr>
          </a:lstStyle>
          <a:p>
            <a:pPr lvl="0"/>
            <a:r>
              <a:rPr lang="en-GB"/>
              <a:t>Section title</a:t>
            </a:r>
          </a:p>
        </p:txBody>
      </p:sp>
      <p:sp>
        <p:nvSpPr>
          <p:cNvPr id="11" name="Text Placeholder 7">
            <a:extLst>
              <a:ext uri="{FF2B5EF4-FFF2-40B4-BE49-F238E27FC236}">
                <a16:creationId xmlns:a16="http://schemas.microsoft.com/office/drawing/2014/main" id="{2DE404A3-B184-4B1E-9049-DC3AD8C4514C}"/>
              </a:ext>
            </a:extLst>
          </p:cNvPr>
          <p:cNvSpPr>
            <a:spLocks noGrp="1"/>
          </p:cNvSpPr>
          <p:nvPr>
            <p:ph type="body" sz="quarter" idx="12" hasCustomPrompt="1"/>
          </p:nvPr>
        </p:nvSpPr>
        <p:spPr>
          <a:xfrm>
            <a:off x="5054008" y="538164"/>
            <a:ext cx="6591891" cy="5772150"/>
          </a:xfrm>
        </p:spPr>
        <p:txBody>
          <a:bodyPr lIns="0" tIns="0" rIns="0" bIns="0" anchor="ctr" anchorCtr="0">
            <a:normAutofit/>
          </a:bodyPr>
          <a:lstStyle>
            <a:lvl1pPr marL="0" indent="0">
              <a:buNone/>
              <a:defRPr sz="2200">
                <a:solidFill>
                  <a:schemeClr val="tx1"/>
                </a:solidFill>
              </a:defRPr>
            </a:lvl1pPr>
          </a:lstStyle>
          <a:p>
            <a:pPr lvl="0"/>
            <a:r>
              <a:rPr lang="en-US"/>
              <a:t>Our mission is to empower every person and every </a:t>
            </a:r>
            <a:r>
              <a:rPr lang="en-GB" noProof="0"/>
              <a:t>organisation</a:t>
            </a:r>
            <a:r>
              <a:rPr lang="en-US"/>
              <a:t> on the planet to achieve more. We believe technology can and should be a force for good and that meaningful innovation can and will contribute to a brighter world in big and small ways.</a:t>
            </a:r>
          </a:p>
        </p:txBody>
      </p:sp>
      <p:sp>
        <p:nvSpPr>
          <p:cNvPr id="3" name="Rectangle 2">
            <a:extLst>
              <a:ext uri="{FF2B5EF4-FFF2-40B4-BE49-F238E27FC236}">
                <a16:creationId xmlns:a16="http://schemas.microsoft.com/office/drawing/2014/main" id="{5FF33776-DF98-42A3-9055-27E7434DE3C4}"/>
              </a:ext>
            </a:extLst>
          </p:cNvPr>
          <p:cNvSpPr/>
          <p:nvPr userDrawn="1"/>
        </p:nvSpPr>
        <p:spPr>
          <a:xfrm>
            <a:off x="4521523" y="2567439"/>
            <a:ext cx="36000" cy="1713600"/>
          </a:xfrm>
          <a:prstGeom prst="rect">
            <a:avLst/>
          </a:prstGeom>
          <a:solidFill>
            <a:srgbClr val="243A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80906274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Inverte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0700FF8-C3FA-43B6-99EE-057A17FA5964}"/>
              </a:ext>
            </a:extLst>
          </p:cNvPr>
          <p:cNvSpPr>
            <a:spLocks noGrp="1"/>
          </p:cNvSpPr>
          <p:nvPr>
            <p:ph type="body" sz="quarter" idx="10" hasCustomPrompt="1"/>
          </p:nvPr>
        </p:nvSpPr>
        <p:spPr>
          <a:xfrm>
            <a:off x="538162" y="3179701"/>
            <a:ext cx="3463199" cy="498598"/>
          </a:xfrm>
        </p:spPr>
        <p:txBody>
          <a:bodyPr wrap="square" lIns="0" tIns="0" rIns="0" bIns="0" anchor="ctr" anchorCtr="0">
            <a:spAutoFit/>
          </a:bodyPr>
          <a:lstStyle>
            <a:lvl1pPr marL="0" indent="0">
              <a:buNone/>
              <a:defRPr sz="3600" b="0">
                <a:solidFill>
                  <a:srgbClr val="243A5E"/>
                </a:solidFill>
                <a:latin typeface="+mj-lt"/>
              </a:defRPr>
            </a:lvl1pPr>
          </a:lstStyle>
          <a:p>
            <a:pPr lvl="0"/>
            <a:r>
              <a:rPr lang="en-GB"/>
              <a:t>Section title</a:t>
            </a:r>
          </a:p>
        </p:txBody>
      </p:sp>
      <p:sp>
        <p:nvSpPr>
          <p:cNvPr id="11" name="Text Placeholder 7">
            <a:extLst>
              <a:ext uri="{FF2B5EF4-FFF2-40B4-BE49-F238E27FC236}">
                <a16:creationId xmlns:a16="http://schemas.microsoft.com/office/drawing/2014/main" id="{2DE404A3-B184-4B1E-9049-DC3AD8C4514C}"/>
              </a:ext>
            </a:extLst>
          </p:cNvPr>
          <p:cNvSpPr>
            <a:spLocks noGrp="1"/>
          </p:cNvSpPr>
          <p:nvPr>
            <p:ph type="body" sz="quarter" idx="12" hasCustomPrompt="1"/>
          </p:nvPr>
        </p:nvSpPr>
        <p:spPr>
          <a:xfrm>
            <a:off x="5054008" y="538164"/>
            <a:ext cx="6591891" cy="5772150"/>
          </a:xfrm>
        </p:spPr>
        <p:txBody>
          <a:bodyPr lIns="0" tIns="0" rIns="0" bIns="0" anchor="ctr" anchorCtr="0">
            <a:normAutofit/>
          </a:bodyPr>
          <a:lstStyle>
            <a:lvl1pPr marL="0" indent="0">
              <a:buNone/>
              <a:defRPr sz="2200">
                <a:solidFill>
                  <a:schemeClr val="tx1"/>
                </a:solidFill>
              </a:defRPr>
            </a:lvl1pPr>
          </a:lstStyle>
          <a:p>
            <a:pPr lvl="0"/>
            <a:r>
              <a:rPr lang="en-US"/>
              <a:t>Our mission is to empower every person and every </a:t>
            </a:r>
            <a:r>
              <a:rPr lang="en-GB" noProof="0"/>
              <a:t>organisation</a:t>
            </a:r>
            <a:r>
              <a:rPr lang="en-US"/>
              <a:t> on the planet to achieve more. We believe technology can and should be a force for good and that meaningful innovation can and will contribute to a brighter world in big and small ways.</a:t>
            </a:r>
          </a:p>
        </p:txBody>
      </p:sp>
      <p:sp>
        <p:nvSpPr>
          <p:cNvPr id="3" name="Rectangle 2">
            <a:extLst>
              <a:ext uri="{FF2B5EF4-FFF2-40B4-BE49-F238E27FC236}">
                <a16:creationId xmlns:a16="http://schemas.microsoft.com/office/drawing/2014/main" id="{5FF33776-DF98-42A3-9055-27E7434DE3C4}"/>
              </a:ext>
            </a:extLst>
          </p:cNvPr>
          <p:cNvSpPr/>
          <p:nvPr userDrawn="1"/>
        </p:nvSpPr>
        <p:spPr>
          <a:xfrm>
            <a:off x="4521523" y="2567439"/>
            <a:ext cx="36000" cy="17136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18865882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0700FF8-C3FA-43B6-99EE-057A17FA5964}"/>
              </a:ext>
            </a:extLst>
          </p:cNvPr>
          <p:cNvSpPr>
            <a:spLocks noGrp="1"/>
          </p:cNvSpPr>
          <p:nvPr>
            <p:ph type="body" sz="quarter" idx="10" hasCustomPrompt="1"/>
          </p:nvPr>
        </p:nvSpPr>
        <p:spPr>
          <a:xfrm>
            <a:off x="538162" y="547687"/>
            <a:ext cx="11107738" cy="498598"/>
          </a:xfrm>
        </p:spPr>
        <p:txBody>
          <a:bodyPr wrap="square" lIns="0" tIns="0" rIns="0" bIns="0">
            <a:spAutoFit/>
          </a:bodyPr>
          <a:lstStyle>
            <a:lvl1pPr marL="0" indent="0">
              <a:buNone/>
              <a:defRPr sz="3600" b="0">
                <a:solidFill>
                  <a:srgbClr val="243A5E"/>
                </a:solidFill>
                <a:latin typeface="+mj-lt"/>
              </a:defRPr>
            </a:lvl1pPr>
          </a:lstStyle>
          <a:p>
            <a:pPr lvl="0"/>
            <a:r>
              <a:rPr lang="en-GB"/>
              <a:t>Slide title</a:t>
            </a:r>
          </a:p>
        </p:txBody>
      </p:sp>
      <p:sp>
        <p:nvSpPr>
          <p:cNvPr id="8" name="Text Placeholder 7">
            <a:extLst>
              <a:ext uri="{FF2B5EF4-FFF2-40B4-BE49-F238E27FC236}">
                <a16:creationId xmlns:a16="http://schemas.microsoft.com/office/drawing/2014/main" id="{67A12113-3B99-4240-A379-207D1B3D55F0}"/>
              </a:ext>
            </a:extLst>
          </p:cNvPr>
          <p:cNvSpPr>
            <a:spLocks noGrp="1"/>
          </p:cNvSpPr>
          <p:nvPr>
            <p:ph type="body" sz="quarter" idx="11" hasCustomPrompt="1"/>
          </p:nvPr>
        </p:nvSpPr>
        <p:spPr>
          <a:xfrm>
            <a:off x="538163" y="1414799"/>
            <a:ext cx="11107736" cy="4895514"/>
          </a:xfrm>
        </p:spPr>
        <p:txBody>
          <a:bodyPr lIns="0" tIns="0" rIns="0" bIns="0">
            <a:normAutofit/>
          </a:bodyPr>
          <a:lstStyle>
            <a:lvl1pPr marL="0" indent="0">
              <a:buNone/>
              <a:defRPr sz="2200">
                <a:solidFill>
                  <a:schemeClr val="tx1"/>
                </a:solidFill>
              </a:defRPr>
            </a:lvl1pPr>
          </a:lstStyle>
          <a:p>
            <a:pPr lvl="0"/>
            <a:r>
              <a:rPr lang="en-US"/>
              <a:t>Our mission is to empower every person and every </a:t>
            </a:r>
            <a:r>
              <a:rPr lang="en-GB" noProof="0"/>
              <a:t>organisation</a:t>
            </a:r>
            <a:r>
              <a:rPr lang="en-US"/>
              <a:t> on the planet to achieve more. We believe technology can and should be a force for good and that meaningful innovation can and will contribute to a brighter world in big and small ways.</a:t>
            </a:r>
          </a:p>
        </p:txBody>
      </p:sp>
    </p:spTree>
    <p:extLst>
      <p:ext uri="{BB962C8B-B14F-4D97-AF65-F5344CB8AC3E}">
        <p14:creationId xmlns:p14="http://schemas.microsoft.com/office/powerpoint/2010/main" val="152466737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One Column (Subtitl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0700FF8-C3FA-43B6-99EE-057A17FA5964}"/>
              </a:ext>
            </a:extLst>
          </p:cNvPr>
          <p:cNvSpPr>
            <a:spLocks noGrp="1"/>
          </p:cNvSpPr>
          <p:nvPr>
            <p:ph type="body" sz="quarter" idx="10" hasCustomPrompt="1"/>
          </p:nvPr>
        </p:nvSpPr>
        <p:spPr>
          <a:xfrm>
            <a:off x="538162" y="547687"/>
            <a:ext cx="11107738" cy="498598"/>
          </a:xfrm>
        </p:spPr>
        <p:txBody>
          <a:bodyPr wrap="square" lIns="0" tIns="0" rIns="0" bIns="0">
            <a:spAutoFit/>
          </a:bodyPr>
          <a:lstStyle>
            <a:lvl1pPr marL="0" indent="0">
              <a:buNone/>
              <a:defRPr sz="3600" b="0">
                <a:solidFill>
                  <a:srgbClr val="243A5E"/>
                </a:solidFill>
                <a:latin typeface="+mj-lt"/>
              </a:defRPr>
            </a:lvl1pPr>
          </a:lstStyle>
          <a:p>
            <a:pPr lvl="0"/>
            <a:r>
              <a:rPr lang="en-GB"/>
              <a:t>Slide title</a:t>
            </a:r>
          </a:p>
        </p:txBody>
      </p:sp>
      <p:sp>
        <p:nvSpPr>
          <p:cNvPr id="8" name="Text Placeholder 7">
            <a:extLst>
              <a:ext uri="{FF2B5EF4-FFF2-40B4-BE49-F238E27FC236}">
                <a16:creationId xmlns:a16="http://schemas.microsoft.com/office/drawing/2014/main" id="{67A12113-3B99-4240-A379-207D1B3D55F0}"/>
              </a:ext>
            </a:extLst>
          </p:cNvPr>
          <p:cNvSpPr>
            <a:spLocks noGrp="1"/>
          </p:cNvSpPr>
          <p:nvPr>
            <p:ph type="body" sz="quarter" idx="11" hasCustomPrompt="1"/>
          </p:nvPr>
        </p:nvSpPr>
        <p:spPr>
          <a:xfrm>
            <a:off x="538163" y="1713601"/>
            <a:ext cx="11107736" cy="4596712"/>
          </a:xfrm>
        </p:spPr>
        <p:txBody>
          <a:bodyPr lIns="0" tIns="0" rIns="0" bIns="0">
            <a:normAutofit/>
          </a:bodyPr>
          <a:lstStyle>
            <a:lvl1pPr marL="0" indent="0">
              <a:buNone/>
              <a:defRPr sz="2200">
                <a:solidFill>
                  <a:schemeClr val="tx1"/>
                </a:solidFill>
              </a:defRPr>
            </a:lvl1pPr>
          </a:lstStyle>
          <a:p>
            <a:pPr lvl="0"/>
            <a:r>
              <a:rPr lang="en-US"/>
              <a:t>Our mission is to empower every person and every </a:t>
            </a:r>
            <a:r>
              <a:rPr lang="en-GB" noProof="0"/>
              <a:t>organisation</a:t>
            </a:r>
            <a:r>
              <a:rPr lang="en-US"/>
              <a:t> on the planet to achieve more. We believe technology can and should be a force for good and that meaningful innovation can and will contribute to a brighter world in big and small ways.</a:t>
            </a:r>
          </a:p>
        </p:txBody>
      </p:sp>
      <p:sp>
        <p:nvSpPr>
          <p:cNvPr id="5" name="Text Placeholder 5">
            <a:extLst>
              <a:ext uri="{FF2B5EF4-FFF2-40B4-BE49-F238E27FC236}">
                <a16:creationId xmlns:a16="http://schemas.microsoft.com/office/drawing/2014/main" id="{0E34B3F9-47B0-4EC2-8340-1423BFA9C8DE}"/>
              </a:ext>
            </a:extLst>
          </p:cNvPr>
          <p:cNvSpPr>
            <a:spLocks noGrp="1"/>
          </p:cNvSpPr>
          <p:nvPr>
            <p:ph type="body" sz="quarter" idx="12" hasCustomPrompt="1"/>
          </p:nvPr>
        </p:nvSpPr>
        <p:spPr>
          <a:xfrm>
            <a:off x="542131" y="1227600"/>
            <a:ext cx="11107737" cy="304699"/>
          </a:xfrm>
        </p:spPr>
        <p:txBody>
          <a:bodyPr wrap="square" lIns="0" tIns="0" rIns="0" bIns="0">
            <a:spAutoFit/>
          </a:bodyPr>
          <a:lstStyle>
            <a:lvl1pPr marL="0" indent="0">
              <a:buNone/>
              <a:defRPr sz="2200" b="0">
                <a:solidFill>
                  <a:srgbClr val="737373"/>
                </a:solidFill>
                <a:latin typeface="+mj-lt"/>
              </a:defRPr>
            </a:lvl1pPr>
          </a:lstStyle>
          <a:p>
            <a:pPr lvl="0"/>
            <a:r>
              <a:rPr lang="en-GB"/>
              <a:t>Subtitle</a:t>
            </a:r>
          </a:p>
        </p:txBody>
      </p:sp>
    </p:spTree>
    <p:extLst>
      <p:ext uri="{BB962C8B-B14F-4D97-AF65-F5344CB8AC3E}">
        <p14:creationId xmlns:p14="http://schemas.microsoft.com/office/powerpoint/2010/main" val="29246692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3795188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0700FF8-C3FA-43B6-99EE-057A17FA5964}"/>
              </a:ext>
            </a:extLst>
          </p:cNvPr>
          <p:cNvSpPr>
            <a:spLocks noGrp="1"/>
          </p:cNvSpPr>
          <p:nvPr>
            <p:ph type="body" sz="quarter" idx="10" hasCustomPrompt="1"/>
          </p:nvPr>
        </p:nvSpPr>
        <p:spPr>
          <a:xfrm>
            <a:off x="538162" y="547687"/>
            <a:ext cx="11107738" cy="498598"/>
          </a:xfrm>
        </p:spPr>
        <p:txBody>
          <a:bodyPr wrap="square" lIns="0" tIns="0" rIns="0" bIns="0">
            <a:spAutoFit/>
          </a:bodyPr>
          <a:lstStyle>
            <a:lvl1pPr marL="0" indent="0">
              <a:buNone/>
              <a:defRPr sz="3600" b="0">
                <a:solidFill>
                  <a:srgbClr val="243A5E"/>
                </a:solidFill>
                <a:latin typeface="+mj-lt"/>
              </a:defRPr>
            </a:lvl1pPr>
          </a:lstStyle>
          <a:p>
            <a:pPr lvl="0"/>
            <a:r>
              <a:rPr lang="en-GB"/>
              <a:t>Slide title</a:t>
            </a:r>
          </a:p>
        </p:txBody>
      </p:sp>
      <p:sp>
        <p:nvSpPr>
          <p:cNvPr id="8" name="Text Placeholder 7">
            <a:extLst>
              <a:ext uri="{FF2B5EF4-FFF2-40B4-BE49-F238E27FC236}">
                <a16:creationId xmlns:a16="http://schemas.microsoft.com/office/drawing/2014/main" id="{67A12113-3B99-4240-A379-207D1B3D55F0}"/>
              </a:ext>
            </a:extLst>
          </p:cNvPr>
          <p:cNvSpPr>
            <a:spLocks noGrp="1"/>
          </p:cNvSpPr>
          <p:nvPr>
            <p:ph type="body" sz="quarter" idx="11" hasCustomPrompt="1"/>
          </p:nvPr>
        </p:nvSpPr>
        <p:spPr>
          <a:xfrm>
            <a:off x="538163" y="1414799"/>
            <a:ext cx="5284787" cy="4895514"/>
          </a:xfrm>
        </p:spPr>
        <p:txBody>
          <a:bodyPr lIns="0" tIns="0" rIns="0" bIns="0">
            <a:normAutofit/>
          </a:bodyPr>
          <a:lstStyle>
            <a:lvl1pPr marL="0" indent="0">
              <a:buNone/>
              <a:defRPr sz="2200"/>
            </a:lvl1pPr>
          </a:lstStyle>
          <a:p>
            <a:pPr lvl="0"/>
            <a:r>
              <a:rPr lang="en-US"/>
              <a:t>Our mission is to empower every person and every </a:t>
            </a:r>
            <a:r>
              <a:rPr lang="en-GB" noProof="0"/>
              <a:t>organisation</a:t>
            </a:r>
            <a:r>
              <a:rPr lang="en-US"/>
              <a:t> on the planet to achieve more. We believe technology can and should be a force for good and that meaningful innovation can and will contribute to a brighter world in big and small ways.</a:t>
            </a:r>
          </a:p>
        </p:txBody>
      </p:sp>
      <p:sp>
        <p:nvSpPr>
          <p:cNvPr id="5" name="Text Placeholder 7">
            <a:extLst>
              <a:ext uri="{FF2B5EF4-FFF2-40B4-BE49-F238E27FC236}">
                <a16:creationId xmlns:a16="http://schemas.microsoft.com/office/drawing/2014/main" id="{BE0B3380-0DF7-40FB-A3DE-59B776D34B8D}"/>
              </a:ext>
            </a:extLst>
          </p:cNvPr>
          <p:cNvSpPr>
            <a:spLocks noGrp="1"/>
          </p:cNvSpPr>
          <p:nvPr>
            <p:ph type="body" sz="quarter" idx="12" hasCustomPrompt="1"/>
          </p:nvPr>
        </p:nvSpPr>
        <p:spPr>
          <a:xfrm>
            <a:off x="6361112" y="1414800"/>
            <a:ext cx="5284787" cy="4895513"/>
          </a:xfrm>
        </p:spPr>
        <p:txBody>
          <a:bodyPr lIns="0" tIns="0" rIns="0" bIns="0">
            <a:normAutofit/>
          </a:bodyPr>
          <a:lstStyle>
            <a:lvl1pPr marL="0" indent="0">
              <a:buNone/>
              <a:defRPr sz="2200"/>
            </a:lvl1pPr>
          </a:lstStyle>
          <a:p>
            <a:pPr lvl="0"/>
            <a:r>
              <a:rPr lang="en-US"/>
              <a:t>Our mission is to empower every person and every </a:t>
            </a:r>
            <a:r>
              <a:rPr lang="en-GB" noProof="0"/>
              <a:t>organisation</a:t>
            </a:r>
            <a:r>
              <a:rPr lang="en-US"/>
              <a:t> on the planet to achieve more. We believe technology can and should be a force for good and that meaningful innovation can and will contribute to a brighter world in big and small ways.</a:t>
            </a:r>
          </a:p>
        </p:txBody>
      </p:sp>
    </p:spTree>
    <p:extLst>
      <p:ext uri="{BB962C8B-B14F-4D97-AF65-F5344CB8AC3E}">
        <p14:creationId xmlns:p14="http://schemas.microsoft.com/office/powerpoint/2010/main" val="350641106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Subtitl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0700FF8-C3FA-43B6-99EE-057A17FA5964}"/>
              </a:ext>
            </a:extLst>
          </p:cNvPr>
          <p:cNvSpPr>
            <a:spLocks noGrp="1"/>
          </p:cNvSpPr>
          <p:nvPr>
            <p:ph type="body" sz="quarter" idx="10" hasCustomPrompt="1"/>
          </p:nvPr>
        </p:nvSpPr>
        <p:spPr>
          <a:xfrm>
            <a:off x="538162" y="547687"/>
            <a:ext cx="11107738" cy="498598"/>
          </a:xfrm>
        </p:spPr>
        <p:txBody>
          <a:bodyPr wrap="square" lIns="0" tIns="0" rIns="0" bIns="0">
            <a:spAutoFit/>
          </a:bodyPr>
          <a:lstStyle>
            <a:lvl1pPr marL="0" indent="0">
              <a:buNone/>
              <a:defRPr sz="3600" b="0">
                <a:solidFill>
                  <a:srgbClr val="243A5E"/>
                </a:solidFill>
                <a:latin typeface="+mj-lt"/>
              </a:defRPr>
            </a:lvl1pPr>
          </a:lstStyle>
          <a:p>
            <a:pPr lvl="0"/>
            <a:r>
              <a:rPr lang="en-GB"/>
              <a:t>Slide title</a:t>
            </a:r>
          </a:p>
        </p:txBody>
      </p:sp>
      <p:sp>
        <p:nvSpPr>
          <p:cNvPr id="8" name="Text Placeholder 7">
            <a:extLst>
              <a:ext uri="{FF2B5EF4-FFF2-40B4-BE49-F238E27FC236}">
                <a16:creationId xmlns:a16="http://schemas.microsoft.com/office/drawing/2014/main" id="{67A12113-3B99-4240-A379-207D1B3D55F0}"/>
              </a:ext>
            </a:extLst>
          </p:cNvPr>
          <p:cNvSpPr>
            <a:spLocks noGrp="1"/>
          </p:cNvSpPr>
          <p:nvPr>
            <p:ph type="body" sz="quarter" idx="11" hasCustomPrompt="1"/>
          </p:nvPr>
        </p:nvSpPr>
        <p:spPr>
          <a:xfrm>
            <a:off x="538163" y="1713600"/>
            <a:ext cx="5284787" cy="4596713"/>
          </a:xfrm>
        </p:spPr>
        <p:txBody>
          <a:bodyPr lIns="0" tIns="0" rIns="0" bIns="0">
            <a:normAutofit/>
          </a:bodyPr>
          <a:lstStyle>
            <a:lvl1pPr marL="0" indent="0">
              <a:buNone/>
              <a:defRPr sz="2200">
                <a:solidFill>
                  <a:schemeClr val="tx1"/>
                </a:solidFill>
              </a:defRPr>
            </a:lvl1pPr>
          </a:lstStyle>
          <a:p>
            <a:pPr lvl="0"/>
            <a:r>
              <a:rPr lang="en-US"/>
              <a:t>Our mission is to empower every person and every </a:t>
            </a:r>
            <a:r>
              <a:rPr lang="en-GB" noProof="0"/>
              <a:t>organisation</a:t>
            </a:r>
            <a:r>
              <a:rPr lang="en-US"/>
              <a:t> on the planet to achieve more. We believe technology can and should be a force for good and that meaningful innovation can and will contribute to a brighter world in big and small ways.</a:t>
            </a:r>
          </a:p>
        </p:txBody>
      </p:sp>
      <p:sp>
        <p:nvSpPr>
          <p:cNvPr id="7" name="Text Placeholder 5">
            <a:extLst>
              <a:ext uri="{FF2B5EF4-FFF2-40B4-BE49-F238E27FC236}">
                <a16:creationId xmlns:a16="http://schemas.microsoft.com/office/drawing/2014/main" id="{34FA8773-7976-46A0-ABA2-27AE38A96B5E}"/>
              </a:ext>
            </a:extLst>
          </p:cNvPr>
          <p:cNvSpPr>
            <a:spLocks noGrp="1"/>
          </p:cNvSpPr>
          <p:nvPr>
            <p:ph type="body" sz="quarter" idx="13" hasCustomPrompt="1"/>
          </p:nvPr>
        </p:nvSpPr>
        <p:spPr>
          <a:xfrm>
            <a:off x="542131" y="1227600"/>
            <a:ext cx="11107737" cy="304699"/>
          </a:xfrm>
        </p:spPr>
        <p:txBody>
          <a:bodyPr wrap="square" lIns="0" tIns="0" rIns="0" bIns="0">
            <a:spAutoFit/>
          </a:bodyPr>
          <a:lstStyle>
            <a:lvl1pPr marL="0" indent="0">
              <a:buNone/>
              <a:defRPr sz="2200" b="0">
                <a:solidFill>
                  <a:srgbClr val="737373"/>
                </a:solidFill>
                <a:latin typeface="+mj-lt"/>
              </a:defRPr>
            </a:lvl1pPr>
          </a:lstStyle>
          <a:p>
            <a:pPr lvl="0"/>
            <a:r>
              <a:rPr lang="en-GB"/>
              <a:t>Subtitle</a:t>
            </a:r>
          </a:p>
        </p:txBody>
      </p:sp>
      <p:sp>
        <p:nvSpPr>
          <p:cNvPr id="10" name="Text Placeholder 7">
            <a:extLst>
              <a:ext uri="{FF2B5EF4-FFF2-40B4-BE49-F238E27FC236}">
                <a16:creationId xmlns:a16="http://schemas.microsoft.com/office/drawing/2014/main" id="{03DD35A5-8D4D-4C71-A691-C14B3AB01B59}"/>
              </a:ext>
            </a:extLst>
          </p:cNvPr>
          <p:cNvSpPr>
            <a:spLocks noGrp="1"/>
          </p:cNvSpPr>
          <p:nvPr>
            <p:ph type="body" sz="quarter" idx="14" hasCustomPrompt="1"/>
          </p:nvPr>
        </p:nvSpPr>
        <p:spPr>
          <a:xfrm>
            <a:off x="6369052" y="1713599"/>
            <a:ext cx="5284787" cy="4596713"/>
          </a:xfrm>
        </p:spPr>
        <p:txBody>
          <a:bodyPr lIns="0" tIns="0" rIns="0" bIns="0">
            <a:normAutofit/>
          </a:bodyPr>
          <a:lstStyle>
            <a:lvl1pPr marL="0" indent="0">
              <a:buNone/>
              <a:defRPr sz="2200">
                <a:solidFill>
                  <a:schemeClr val="tx1"/>
                </a:solidFill>
              </a:defRPr>
            </a:lvl1pPr>
          </a:lstStyle>
          <a:p>
            <a:pPr lvl="0"/>
            <a:r>
              <a:rPr lang="en-US"/>
              <a:t>Our mission is to empower every person and every </a:t>
            </a:r>
            <a:r>
              <a:rPr lang="en-GB" noProof="0"/>
              <a:t>organisation</a:t>
            </a:r>
            <a:r>
              <a:rPr lang="en-US"/>
              <a:t> on the planet to achieve more. We believe technology can and should be a force for good and that meaningful innovation can and will contribute to a brighter world in big and small ways.</a:t>
            </a:r>
          </a:p>
        </p:txBody>
      </p:sp>
    </p:spTree>
    <p:extLst>
      <p:ext uri="{BB962C8B-B14F-4D97-AF65-F5344CB8AC3E}">
        <p14:creationId xmlns:p14="http://schemas.microsoft.com/office/powerpoint/2010/main" val="325517387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0700FF8-C3FA-43B6-99EE-057A17FA5964}"/>
              </a:ext>
            </a:extLst>
          </p:cNvPr>
          <p:cNvSpPr>
            <a:spLocks noGrp="1"/>
          </p:cNvSpPr>
          <p:nvPr>
            <p:ph type="body" sz="quarter" idx="10" hasCustomPrompt="1"/>
          </p:nvPr>
        </p:nvSpPr>
        <p:spPr>
          <a:xfrm>
            <a:off x="538162" y="547687"/>
            <a:ext cx="11107738" cy="498598"/>
          </a:xfrm>
        </p:spPr>
        <p:txBody>
          <a:bodyPr wrap="square" lIns="0" tIns="0" rIns="0" bIns="0">
            <a:spAutoFit/>
          </a:bodyPr>
          <a:lstStyle>
            <a:lvl1pPr marL="0" indent="0">
              <a:buNone/>
              <a:defRPr sz="3600" b="0">
                <a:solidFill>
                  <a:srgbClr val="243A5E"/>
                </a:solidFill>
                <a:latin typeface="+mj-lt"/>
              </a:defRPr>
            </a:lvl1pPr>
          </a:lstStyle>
          <a:p>
            <a:pPr lvl="0"/>
            <a:r>
              <a:rPr lang="en-GB"/>
              <a:t>Slide title</a:t>
            </a:r>
          </a:p>
        </p:txBody>
      </p:sp>
      <p:sp>
        <p:nvSpPr>
          <p:cNvPr id="8" name="Text Placeholder 7">
            <a:extLst>
              <a:ext uri="{FF2B5EF4-FFF2-40B4-BE49-F238E27FC236}">
                <a16:creationId xmlns:a16="http://schemas.microsoft.com/office/drawing/2014/main" id="{67A12113-3B99-4240-A379-207D1B3D55F0}"/>
              </a:ext>
            </a:extLst>
          </p:cNvPr>
          <p:cNvSpPr>
            <a:spLocks noGrp="1"/>
          </p:cNvSpPr>
          <p:nvPr>
            <p:ph type="body" sz="quarter" idx="11" hasCustomPrompt="1"/>
          </p:nvPr>
        </p:nvSpPr>
        <p:spPr>
          <a:xfrm>
            <a:off x="538161" y="1414799"/>
            <a:ext cx="3463200" cy="4895513"/>
          </a:xfrm>
        </p:spPr>
        <p:txBody>
          <a:bodyPr lIns="0" tIns="0" rIns="0" bIns="0">
            <a:normAutofit/>
          </a:bodyPr>
          <a:lstStyle>
            <a:lvl1pPr marL="0" indent="0">
              <a:buNone/>
              <a:defRPr sz="2200">
                <a:solidFill>
                  <a:schemeClr val="tx1"/>
                </a:solidFill>
              </a:defRPr>
            </a:lvl1pPr>
          </a:lstStyle>
          <a:p>
            <a:pPr lvl="0"/>
            <a:r>
              <a:rPr lang="en-US"/>
              <a:t>Our mission is to empower every person and every </a:t>
            </a:r>
            <a:r>
              <a:rPr lang="en-GB" noProof="0"/>
              <a:t>organisation</a:t>
            </a:r>
            <a:r>
              <a:rPr lang="en-US"/>
              <a:t> on the planet to achieve more. We believe technology can and should be a force for good and that meaningful innovation can and will contribute to a brighter world in big and small ways.</a:t>
            </a:r>
          </a:p>
        </p:txBody>
      </p:sp>
      <p:sp>
        <p:nvSpPr>
          <p:cNvPr id="11" name="Text Placeholder 7">
            <a:extLst>
              <a:ext uri="{FF2B5EF4-FFF2-40B4-BE49-F238E27FC236}">
                <a16:creationId xmlns:a16="http://schemas.microsoft.com/office/drawing/2014/main" id="{2DE404A3-B184-4B1E-9049-DC3AD8C4514C}"/>
              </a:ext>
            </a:extLst>
          </p:cNvPr>
          <p:cNvSpPr>
            <a:spLocks noGrp="1"/>
          </p:cNvSpPr>
          <p:nvPr>
            <p:ph type="body" sz="quarter" idx="12" hasCustomPrompt="1"/>
          </p:nvPr>
        </p:nvSpPr>
        <p:spPr>
          <a:xfrm>
            <a:off x="4364400" y="1414800"/>
            <a:ext cx="3463200" cy="4895513"/>
          </a:xfrm>
        </p:spPr>
        <p:txBody>
          <a:bodyPr lIns="0" tIns="0" rIns="0" bIns="0">
            <a:normAutofit/>
          </a:bodyPr>
          <a:lstStyle>
            <a:lvl1pPr marL="0" indent="0">
              <a:buNone/>
              <a:defRPr sz="2200">
                <a:solidFill>
                  <a:schemeClr val="tx1"/>
                </a:solidFill>
              </a:defRPr>
            </a:lvl1pPr>
          </a:lstStyle>
          <a:p>
            <a:pPr lvl="0"/>
            <a:r>
              <a:rPr lang="en-US"/>
              <a:t>Our mission is to empower every person and every </a:t>
            </a:r>
            <a:r>
              <a:rPr lang="en-GB" noProof="0"/>
              <a:t>organisation</a:t>
            </a:r>
            <a:r>
              <a:rPr lang="en-US"/>
              <a:t> on the planet to achieve more. We believe technology can and should be a force for good and that meaningful innovation can and will contribute to a brighter world in big and small ways.</a:t>
            </a:r>
          </a:p>
        </p:txBody>
      </p:sp>
      <p:sp>
        <p:nvSpPr>
          <p:cNvPr id="12" name="Text Placeholder 7">
            <a:extLst>
              <a:ext uri="{FF2B5EF4-FFF2-40B4-BE49-F238E27FC236}">
                <a16:creationId xmlns:a16="http://schemas.microsoft.com/office/drawing/2014/main" id="{8E645A76-A4C4-4A53-881E-9BDE02DB6B30}"/>
              </a:ext>
            </a:extLst>
          </p:cNvPr>
          <p:cNvSpPr>
            <a:spLocks noGrp="1"/>
          </p:cNvSpPr>
          <p:nvPr>
            <p:ph type="body" sz="quarter" idx="13" hasCustomPrompt="1"/>
          </p:nvPr>
        </p:nvSpPr>
        <p:spPr>
          <a:xfrm>
            <a:off x="8190639" y="1414800"/>
            <a:ext cx="3463200" cy="4895513"/>
          </a:xfrm>
        </p:spPr>
        <p:txBody>
          <a:bodyPr lIns="0" tIns="0" rIns="0" bIns="0">
            <a:normAutofit/>
          </a:bodyPr>
          <a:lstStyle>
            <a:lvl1pPr marL="0" indent="0">
              <a:buNone/>
              <a:defRPr sz="2200">
                <a:solidFill>
                  <a:schemeClr val="tx1"/>
                </a:solidFill>
              </a:defRPr>
            </a:lvl1pPr>
          </a:lstStyle>
          <a:p>
            <a:pPr lvl="0"/>
            <a:r>
              <a:rPr lang="en-US"/>
              <a:t>Our mission is to empower every person and every </a:t>
            </a:r>
            <a:r>
              <a:rPr lang="en-GB" noProof="0"/>
              <a:t>organisation</a:t>
            </a:r>
            <a:r>
              <a:rPr lang="en-US"/>
              <a:t> on the planet to achieve more. We believe technology can and should be a force for good and that meaningful innovation can and will contribute to a brighter world in big and small ways.</a:t>
            </a:r>
          </a:p>
        </p:txBody>
      </p:sp>
    </p:spTree>
    <p:extLst>
      <p:ext uri="{BB962C8B-B14F-4D97-AF65-F5344CB8AC3E}">
        <p14:creationId xmlns:p14="http://schemas.microsoft.com/office/powerpoint/2010/main" val="147542005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ree Column (Subtitl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0700FF8-C3FA-43B6-99EE-057A17FA5964}"/>
              </a:ext>
            </a:extLst>
          </p:cNvPr>
          <p:cNvSpPr>
            <a:spLocks noGrp="1"/>
          </p:cNvSpPr>
          <p:nvPr>
            <p:ph type="body" sz="quarter" idx="10" hasCustomPrompt="1"/>
          </p:nvPr>
        </p:nvSpPr>
        <p:spPr>
          <a:xfrm>
            <a:off x="538162" y="547687"/>
            <a:ext cx="11107738" cy="498598"/>
          </a:xfrm>
        </p:spPr>
        <p:txBody>
          <a:bodyPr wrap="square" lIns="0" tIns="0" rIns="0" bIns="0">
            <a:spAutoFit/>
          </a:bodyPr>
          <a:lstStyle>
            <a:lvl1pPr marL="0" indent="0">
              <a:buNone/>
              <a:defRPr sz="3600" b="0">
                <a:solidFill>
                  <a:srgbClr val="243A5E"/>
                </a:solidFill>
                <a:latin typeface="+mj-lt"/>
              </a:defRPr>
            </a:lvl1pPr>
          </a:lstStyle>
          <a:p>
            <a:pPr lvl="0"/>
            <a:r>
              <a:rPr lang="en-GB"/>
              <a:t>Slide title</a:t>
            </a:r>
          </a:p>
        </p:txBody>
      </p:sp>
      <p:sp>
        <p:nvSpPr>
          <p:cNvPr id="8" name="Text Placeholder 7">
            <a:extLst>
              <a:ext uri="{FF2B5EF4-FFF2-40B4-BE49-F238E27FC236}">
                <a16:creationId xmlns:a16="http://schemas.microsoft.com/office/drawing/2014/main" id="{67A12113-3B99-4240-A379-207D1B3D55F0}"/>
              </a:ext>
            </a:extLst>
          </p:cNvPr>
          <p:cNvSpPr>
            <a:spLocks noGrp="1"/>
          </p:cNvSpPr>
          <p:nvPr>
            <p:ph type="body" sz="quarter" idx="11" hasCustomPrompt="1"/>
          </p:nvPr>
        </p:nvSpPr>
        <p:spPr>
          <a:xfrm>
            <a:off x="538161" y="1713601"/>
            <a:ext cx="3463200" cy="4596712"/>
          </a:xfrm>
        </p:spPr>
        <p:txBody>
          <a:bodyPr lIns="0" tIns="0" rIns="0" bIns="0">
            <a:normAutofit/>
          </a:bodyPr>
          <a:lstStyle>
            <a:lvl1pPr marL="0" indent="0">
              <a:buNone/>
              <a:defRPr sz="2200">
                <a:solidFill>
                  <a:schemeClr val="tx1"/>
                </a:solidFill>
              </a:defRPr>
            </a:lvl1pPr>
          </a:lstStyle>
          <a:p>
            <a:pPr lvl="0"/>
            <a:r>
              <a:rPr lang="en-US"/>
              <a:t>Our mission is to empower every person and every </a:t>
            </a:r>
            <a:r>
              <a:rPr lang="en-GB" noProof="0"/>
              <a:t>organisation</a:t>
            </a:r>
            <a:r>
              <a:rPr lang="en-US"/>
              <a:t> on the planet to achieve more. We believe technology can and should be a force for good and that meaningful innovation can and will contribute to a brighter world in big and small ways.</a:t>
            </a:r>
          </a:p>
        </p:txBody>
      </p:sp>
      <p:sp>
        <p:nvSpPr>
          <p:cNvPr id="7" name="Text Placeholder 5">
            <a:extLst>
              <a:ext uri="{FF2B5EF4-FFF2-40B4-BE49-F238E27FC236}">
                <a16:creationId xmlns:a16="http://schemas.microsoft.com/office/drawing/2014/main" id="{79E1D01A-3697-48F3-9C45-1DFE05280735}"/>
              </a:ext>
            </a:extLst>
          </p:cNvPr>
          <p:cNvSpPr>
            <a:spLocks noGrp="1"/>
          </p:cNvSpPr>
          <p:nvPr>
            <p:ph type="body" sz="quarter" idx="14" hasCustomPrompt="1"/>
          </p:nvPr>
        </p:nvSpPr>
        <p:spPr>
          <a:xfrm>
            <a:off x="542131" y="1227600"/>
            <a:ext cx="11107737" cy="304699"/>
          </a:xfrm>
        </p:spPr>
        <p:txBody>
          <a:bodyPr wrap="square" lIns="0" tIns="0" rIns="0" bIns="0">
            <a:spAutoFit/>
          </a:bodyPr>
          <a:lstStyle>
            <a:lvl1pPr marL="0" indent="0">
              <a:buNone/>
              <a:defRPr sz="2200" b="0">
                <a:solidFill>
                  <a:srgbClr val="737373"/>
                </a:solidFill>
                <a:latin typeface="+mj-lt"/>
              </a:defRPr>
            </a:lvl1pPr>
          </a:lstStyle>
          <a:p>
            <a:pPr lvl="0"/>
            <a:r>
              <a:rPr lang="en-GB"/>
              <a:t>Subtitle</a:t>
            </a:r>
          </a:p>
        </p:txBody>
      </p:sp>
      <p:sp>
        <p:nvSpPr>
          <p:cNvPr id="10" name="Text Placeholder 7">
            <a:extLst>
              <a:ext uri="{FF2B5EF4-FFF2-40B4-BE49-F238E27FC236}">
                <a16:creationId xmlns:a16="http://schemas.microsoft.com/office/drawing/2014/main" id="{18704738-B328-4338-B549-6F463C300426}"/>
              </a:ext>
            </a:extLst>
          </p:cNvPr>
          <p:cNvSpPr>
            <a:spLocks noGrp="1"/>
          </p:cNvSpPr>
          <p:nvPr>
            <p:ph type="body" sz="quarter" idx="15" hasCustomPrompt="1"/>
          </p:nvPr>
        </p:nvSpPr>
        <p:spPr>
          <a:xfrm>
            <a:off x="4360000" y="1713601"/>
            <a:ext cx="3463200" cy="4596712"/>
          </a:xfrm>
        </p:spPr>
        <p:txBody>
          <a:bodyPr lIns="0" tIns="0" rIns="0" bIns="0">
            <a:normAutofit/>
          </a:bodyPr>
          <a:lstStyle>
            <a:lvl1pPr marL="0" indent="0">
              <a:buNone/>
              <a:defRPr sz="2200">
                <a:solidFill>
                  <a:schemeClr val="tx1"/>
                </a:solidFill>
              </a:defRPr>
            </a:lvl1pPr>
          </a:lstStyle>
          <a:p>
            <a:pPr lvl="0"/>
            <a:r>
              <a:rPr lang="en-US"/>
              <a:t>Our mission is to empower every person and every </a:t>
            </a:r>
            <a:r>
              <a:rPr lang="en-GB" noProof="0"/>
              <a:t>organisation</a:t>
            </a:r>
            <a:r>
              <a:rPr lang="en-US"/>
              <a:t> on the planet to achieve more. We believe technology can and should be a force for good and that meaningful innovation can and will contribute to a brighter world in big and small ways.</a:t>
            </a:r>
          </a:p>
        </p:txBody>
      </p:sp>
      <p:sp>
        <p:nvSpPr>
          <p:cNvPr id="13" name="Text Placeholder 7">
            <a:extLst>
              <a:ext uri="{FF2B5EF4-FFF2-40B4-BE49-F238E27FC236}">
                <a16:creationId xmlns:a16="http://schemas.microsoft.com/office/drawing/2014/main" id="{FFDED873-A55D-4527-AF29-004576115AF9}"/>
              </a:ext>
            </a:extLst>
          </p:cNvPr>
          <p:cNvSpPr>
            <a:spLocks noGrp="1"/>
          </p:cNvSpPr>
          <p:nvPr>
            <p:ph type="body" sz="quarter" idx="16" hasCustomPrompt="1"/>
          </p:nvPr>
        </p:nvSpPr>
        <p:spPr>
          <a:xfrm>
            <a:off x="8181839" y="1713601"/>
            <a:ext cx="3463200" cy="4596712"/>
          </a:xfrm>
        </p:spPr>
        <p:txBody>
          <a:bodyPr lIns="0" tIns="0" rIns="0" bIns="0">
            <a:normAutofit/>
          </a:bodyPr>
          <a:lstStyle>
            <a:lvl1pPr marL="0" indent="0">
              <a:buNone/>
              <a:defRPr sz="2200">
                <a:solidFill>
                  <a:schemeClr val="tx1"/>
                </a:solidFill>
              </a:defRPr>
            </a:lvl1pPr>
          </a:lstStyle>
          <a:p>
            <a:pPr lvl="0"/>
            <a:r>
              <a:rPr lang="en-US"/>
              <a:t>Our mission is to empower every person and every </a:t>
            </a:r>
            <a:r>
              <a:rPr lang="en-GB" noProof="0"/>
              <a:t>organisation</a:t>
            </a:r>
            <a:r>
              <a:rPr lang="en-US"/>
              <a:t> on the planet to achieve more. We believe technology can and should be a force for good and that meaningful innovation can and will contribute to a brighter world in big and small ways.</a:t>
            </a:r>
          </a:p>
        </p:txBody>
      </p:sp>
    </p:spTree>
    <p:extLst>
      <p:ext uri="{BB962C8B-B14F-4D97-AF65-F5344CB8AC3E}">
        <p14:creationId xmlns:p14="http://schemas.microsoft.com/office/powerpoint/2010/main" val="194646440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hoto">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0700FF8-C3FA-43B6-99EE-057A17FA5964}"/>
              </a:ext>
            </a:extLst>
          </p:cNvPr>
          <p:cNvSpPr>
            <a:spLocks noGrp="1"/>
          </p:cNvSpPr>
          <p:nvPr>
            <p:ph type="body" sz="quarter" idx="10" hasCustomPrompt="1"/>
          </p:nvPr>
        </p:nvSpPr>
        <p:spPr>
          <a:xfrm>
            <a:off x="538162" y="547687"/>
            <a:ext cx="5284788" cy="498598"/>
          </a:xfrm>
        </p:spPr>
        <p:txBody>
          <a:bodyPr wrap="square" lIns="0" tIns="0" rIns="0" bIns="0">
            <a:spAutoFit/>
          </a:bodyPr>
          <a:lstStyle>
            <a:lvl1pPr marL="0" indent="0">
              <a:buNone/>
              <a:defRPr sz="3600" b="0">
                <a:solidFill>
                  <a:srgbClr val="243A5E"/>
                </a:solidFill>
                <a:latin typeface="+mj-lt"/>
              </a:defRPr>
            </a:lvl1pPr>
          </a:lstStyle>
          <a:p>
            <a:pPr lvl="0"/>
            <a:r>
              <a:rPr lang="en-GB"/>
              <a:t>Slide title</a:t>
            </a:r>
          </a:p>
        </p:txBody>
      </p:sp>
      <p:sp>
        <p:nvSpPr>
          <p:cNvPr id="8" name="Text Placeholder 7">
            <a:extLst>
              <a:ext uri="{FF2B5EF4-FFF2-40B4-BE49-F238E27FC236}">
                <a16:creationId xmlns:a16="http://schemas.microsoft.com/office/drawing/2014/main" id="{67A12113-3B99-4240-A379-207D1B3D55F0}"/>
              </a:ext>
            </a:extLst>
          </p:cNvPr>
          <p:cNvSpPr>
            <a:spLocks noGrp="1"/>
          </p:cNvSpPr>
          <p:nvPr>
            <p:ph type="body" sz="quarter" idx="11" hasCustomPrompt="1"/>
          </p:nvPr>
        </p:nvSpPr>
        <p:spPr>
          <a:xfrm>
            <a:off x="538163" y="1414799"/>
            <a:ext cx="5284787" cy="4895513"/>
          </a:xfrm>
        </p:spPr>
        <p:txBody>
          <a:bodyPr lIns="0" tIns="0" rIns="0" bIns="0">
            <a:normAutofit/>
          </a:bodyPr>
          <a:lstStyle>
            <a:lvl1pPr marL="0" indent="0">
              <a:buNone/>
              <a:defRPr sz="2200">
                <a:solidFill>
                  <a:schemeClr val="tx1"/>
                </a:solidFill>
              </a:defRPr>
            </a:lvl1pPr>
          </a:lstStyle>
          <a:p>
            <a:pPr lvl="0"/>
            <a:r>
              <a:rPr lang="en-US"/>
              <a:t>Our mission is to empower every person and every </a:t>
            </a:r>
            <a:r>
              <a:rPr lang="en-GB" noProof="0"/>
              <a:t>organisation</a:t>
            </a:r>
            <a:r>
              <a:rPr lang="en-US"/>
              <a:t> on the planet to achieve more. We believe technology can and should be a force for good and that meaningful innovation can and will contribute to a brighter world in big and small ways.</a:t>
            </a:r>
          </a:p>
        </p:txBody>
      </p:sp>
      <p:sp>
        <p:nvSpPr>
          <p:cNvPr id="3" name="Picture Placeholder 2">
            <a:extLst>
              <a:ext uri="{FF2B5EF4-FFF2-40B4-BE49-F238E27FC236}">
                <a16:creationId xmlns:a16="http://schemas.microsoft.com/office/drawing/2014/main" id="{E9C49ADC-6F1E-45DF-89CC-BF7458559E25}"/>
              </a:ext>
            </a:extLst>
          </p:cNvPr>
          <p:cNvSpPr>
            <a:spLocks noGrp="1"/>
          </p:cNvSpPr>
          <p:nvPr>
            <p:ph type="pic" sz="quarter" idx="12"/>
          </p:nvPr>
        </p:nvSpPr>
        <p:spPr>
          <a:xfrm>
            <a:off x="6365874" y="0"/>
            <a:ext cx="5826125" cy="6858000"/>
          </a:xfrm>
          <a:solidFill>
            <a:srgbClr val="2F2F2F"/>
          </a:solidFill>
        </p:spPr>
        <p:txBody>
          <a:bodyPr/>
          <a:lstStyle>
            <a:lvl1pPr marL="0" indent="0">
              <a:buNone/>
              <a:defRPr>
                <a:solidFill>
                  <a:schemeClr val="tx1"/>
                </a:solidFill>
              </a:defRPr>
            </a:lvl1pPr>
          </a:lstStyle>
          <a:p>
            <a:endParaRPr lang="en-GB"/>
          </a:p>
        </p:txBody>
      </p:sp>
    </p:spTree>
    <p:extLst>
      <p:ext uri="{BB962C8B-B14F-4D97-AF65-F5344CB8AC3E}">
        <p14:creationId xmlns:p14="http://schemas.microsoft.com/office/powerpoint/2010/main" val="403168538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hoto (Subtitl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0700FF8-C3FA-43B6-99EE-057A17FA5964}"/>
              </a:ext>
            </a:extLst>
          </p:cNvPr>
          <p:cNvSpPr>
            <a:spLocks noGrp="1"/>
          </p:cNvSpPr>
          <p:nvPr>
            <p:ph type="body" sz="quarter" idx="10" hasCustomPrompt="1"/>
          </p:nvPr>
        </p:nvSpPr>
        <p:spPr>
          <a:xfrm>
            <a:off x="538162" y="547687"/>
            <a:ext cx="5284788" cy="498598"/>
          </a:xfrm>
        </p:spPr>
        <p:txBody>
          <a:bodyPr wrap="square" lIns="0" tIns="0" rIns="0" bIns="0">
            <a:spAutoFit/>
          </a:bodyPr>
          <a:lstStyle>
            <a:lvl1pPr marL="0" indent="0">
              <a:buNone/>
              <a:defRPr sz="3600" b="0">
                <a:solidFill>
                  <a:srgbClr val="243A5E"/>
                </a:solidFill>
                <a:latin typeface="+mj-lt"/>
              </a:defRPr>
            </a:lvl1pPr>
          </a:lstStyle>
          <a:p>
            <a:pPr lvl="0"/>
            <a:r>
              <a:rPr lang="en-GB"/>
              <a:t>Slide title</a:t>
            </a:r>
          </a:p>
        </p:txBody>
      </p:sp>
      <p:sp>
        <p:nvSpPr>
          <p:cNvPr id="8" name="Text Placeholder 7">
            <a:extLst>
              <a:ext uri="{FF2B5EF4-FFF2-40B4-BE49-F238E27FC236}">
                <a16:creationId xmlns:a16="http://schemas.microsoft.com/office/drawing/2014/main" id="{67A12113-3B99-4240-A379-207D1B3D55F0}"/>
              </a:ext>
            </a:extLst>
          </p:cNvPr>
          <p:cNvSpPr>
            <a:spLocks noGrp="1"/>
          </p:cNvSpPr>
          <p:nvPr>
            <p:ph type="body" sz="quarter" idx="11" hasCustomPrompt="1"/>
          </p:nvPr>
        </p:nvSpPr>
        <p:spPr>
          <a:xfrm>
            <a:off x="538163" y="1713600"/>
            <a:ext cx="5284787" cy="4596713"/>
          </a:xfrm>
        </p:spPr>
        <p:txBody>
          <a:bodyPr lIns="0" tIns="0" rIns="0" bIns="0">
            <a:normAutofit/>
          </a:bodyPr>
          <a:lstStyle>
            <a:lvl1pPr marL="0" indent="0">
              <a:buNone/>
              <a:defRPr sz="2200">
                <a:solidFill>
                  <a:schemeClr val="tx1"/>
                </a:solidFill>
              </a:defRPr>
            </a:lvl1pPr>
          </a:lstStyle>
          <a:p>
            <a:pPr lvl="0"/>
            <a:r>
              <a:rPr lang="en-US"/>
              <a:t>Our mission is to empower every person and every </a:t>
            </a:r>
            <a:r>
              <a:rPr lang="en-GB" noProof="0"/>
              <a:t>organisation</a:t>
            </a:r>
            <a:r>
              <a:rPr lang="en-US"/>
              <a:t> on the planet to achieve more. We believe technology can and should be a force for good and that meaningful innovation can and will contribute to a brighter world in big and small ways.</a:t>
            </a:r>
          </a:p>
        </p:txBody>
      </p:sp>
      <p:sp>
        <p:nvSpPr>
          <p:cNvPr id="5" name="Text Placeholder 5">
            <a:extLst>
              <a:ext uri="{FF2B5EF4-FFF2-40B4-BE49-F238E27FC236}">
                <a16:creationId xmlns:a16="http://schemas.microsoft.com/office/drawing/2014/main" id="{0E34B3F9-47B0-4EC2-8340-1423BFA9C8DE}"/>
              </a:ext>
            </a:extLst>
          </p:cNvPr>
          <p:cNvSpPr>
            <a:spLocks noGrp="1"/>
          </p:cNvSpPr>
          <p:nvPr>
            <p:ph type="body" sz="quarter" idx="12" hasCustomPrompt="1"/>
          </p:nvPr>
        </p:nvSpPr>
        <p:spPr>
          <a:xfrm>
            <a:off x="542131" y="1227600"/>
            <a:ext cx="5280819" cy="304699"/>
          </a:xfrm>
        </p:spPr>
        <p:txBody>
          <a:bodyPr wrap="square" lIns="0" tIns="0" rIns="0" bIns="0">
            <a:spAutoFit/>
          </a:bodyPr>
          <a:lstStyle>
            <a:lvl1pPr marL="0" indent="0">
              <a:buNone/>
              <a:defRPr sz="2200" b="0">
                <a:solidFill>
                  <a:srgbClr val="737373"/>
                </a:solidFill>
                <a:latin typeface="+mj-lt"/>
              </a:defRPr>
            </a:lvl1pPr>
          </a:lstStyle>
          <a:p>
            <a:pPr lvl="0"/>
            <a:r>
              <a:rPr lang="en-GB"/>
              <a:t>Subtitle</a:t>
            </a:r>
          </a:p>
        </p:txBody>
      </p:sp>
      <p:sp>
        <p:nvSpPr>
          <p:cNvPr id="7" name="Picture Placeholder 2">
            <a:extLst>
              <a:ext uri="{FF2B5EF4-FFF2-40B4-BE49-F238E27FC236}">
                <a16:creationId xmlns:a16="http://schemas.microsoft.com/office/drawing/2014/main" id="{A0B60FAD-F4DA-4A90-8B57-C6B13B1CDA63}"/>
              </a:ext>
            </a:extLst>
          </p:cNvPr>
          <p:cNvSpPr>
            <a:spLocks noGrp="1"/>
          </p:cNvSpPr>
          <p:nvPr>
            <p:ph type="pic" sz="quarter" idx="13"/>
          </p:nvPr>
        </p:nvSpPr>
        <p:spPr>
          <a:xfrm>
            <a:off x="6365874" y="0"/>
            <a:ext cx="5826125" cy="6858000"/>
          </a:xfrm>
          <a:solidFill>
            <a:srgbClr val="2F2F2F"/>
          </a:solidFill>
        </p:spPr>
        <p:txBody>
          <a:bodyPr/>
          <a:lstStyle>
            <a:lvl1pPr marL="0" indent="0">
              <a:buNone/>
              <a:defRPr/>
            </a:lvl1pPr>
          </a:lstStyle>
          <a:p>
            <a:endParaRPr lang="en-GB"/>
          </a:p>
        </p:txBody>
      </p:sp>
    </p:spTree>
    <p:extLst>
      <p:ext uri="{BB962C8B-B14F-4D97-AF65-F5344CB8AC3E}">
        <p14:creationId xmlns:p14="http://schemas.microsoft.com/office/powerpoint/2010/main" val="188930739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hoto Flip">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9C49ADC-6F1E-45DF-89CC-BF7458559E25}"/>
              </a:ext>
            </a:extLst>
          </p:cNvPr>
          <p:cNvSpPr>
            <a:spLocks noGrp="1"/>
          </p:cNvSpPr>
          <p:nvPr>
            <p:ph type="pic" sz="quarter" idx="12"/>
          </p:nvPr>
        </p:nvSpPr>
        <p:spPr>
          <a:xfrm>
            <a:off x="-3175" y="0"/>
            <a:ext cx="5826125" cy="6858000"/>
          </a:xfrm>
          <a:solidFill>
            <a:srgbClr val="2F2F2F"/>
          </a:solidFill>
        </p:spPr>
        <p:txBody>
          <a:bodyPr/>
          <a:lstStyle>
            <a:lvl1pPr marL="0" indent="0">
              <a:buNone/>
              <a:defRPr>
                <a:solidFill>
                  <a:schemeClr val="tx1"/>
                </a:solidFill>
              </a:defRPr>
            </a:lvl1pPr>
          </a:lstStyle>
          <a:p>
            <a:endParaRPr lang="en-GB"/>
          </a:p>
        </p:txBody>
      </p:sp>
      <p:sp>
        <p:nvSpPr>
          <p:cNvPr id="6" name="Text Placeholder 5">
            <a:extLst>
              <a:ext uri="{FF2B5EF4-FFF2-40B4-BE49-F238E27FC236}">
                <a16:creationId xmlns:a16="http://schemas.microsoft.com/office/drawing/2014/main" id="{C0700FF8-C3FA-43B6-99EE-057A17FA5964}"/>
              </a:ext>
            </a:extLst>
          </p:cNvPr>
          <p:cNvSpPr>
            <a:spLocks noGrp="1"/>
          </p:cNvSpPr>
          <p:nvPr>
            <p:ph type="body" sz="quarter" idx="10" hasCustomPrompt="1"/>
          </p:nvPr>
        </p:nvSpPr>
        <p:spPr>
          <a:xfrm>
            <a:off x="6361112" y="538163"/>
            <a:ext cx="5284788" cy="498598"/>
          </a:xfrm>
        </p:spPr>
        <p:txBody>
          <a:bodyPr wrap="square" lIns="0" tIns="0" rIns="0" bIns="0">
            <a:spAutoFit/>
          </a:bodyPr>
          <a:lstStyle>
            <a:lvl1pPr marL="0" indent="0">
              <a:buNone/>
              <a:defRPr sz="3600" b="0">
                <a:solidFill>
                  <a:srgbClr val="243A5E"/>
                </a:solidFill>
                <a:latin typeface="+mj-lt"/>
              </a:defRPr>
            </a:lvl1pPr>
          </a:lstStyle>
          <a:p>
            <a:pPr lvl="0"/>
            <a:r>
              <a:rPr lang="en-GB"/>
              <a:t>Slide title</a:t>
            </a:r>
          </a:p>
        </p:txBody>
      </p:sp>
      <p:sp>
        <p:nvSpPr>
          <p:cNvPr id="8" name="Text Placeholder 7">
            <a:extLst>
              <a:ext uri="{FF2B5EF4-FFF2-40B4-BE49-F238E27FC236}">
                <a16:creationId xmlns:a16="http://schemas.microsoft.com/office/drawing/2014/main" id="{67A12113-3B99-4240-A379-207D1B3D55F0}"/>
              </a:ext>
            </a:extLst>
          </p:cNvPr>
          <p:cNvSpPr>
            <a:spLocks noGrp="1"/>
          </p:cNvSpPr>
          <p:nvPr>
            <p:ph type="body" sz="quarter" idx="11" hasCustomPrompt="1"/>
          </p:nvPr>
        </p:nvSpPr>
        <p:spPr>
          <a:xfrm>
            <a:off x="6361113" y="1405275"/>
            <a:ext cx="5284787" cy="4895513"/>
          </a:xfrm>
        </p:spPr>
        <p:txBody>
          <a:bodyPr lIns="0" tIns="0" rIns="0" bIns="0">
            <a:normAutofit/>
          </a:bodyPr>
          <a:lstStyle>
            <a:lvl1pPr marL="0" indent="0">
              <a:buNone/>
              <a:defRPr sz="2200">
                <a:solidFill>
                  <a:schemeClr val="tx1"/>
                </a:solidFill>
              </a:defRPr>
            </a:lvl1pPr>
          </a:lstStyle>
          <a:p>
            <a:pPr lvl="0"/>
            <a:r>
              <a:rPr lang="en-US"/>
              <a:t>Our mission is to empower every person and every </a:t>
            </a:r>
            <a:r>
              <a:rPr lang="en-GB" noProof="0"/>
              <a:t>organisation</a:t>
            </a:r>
            <a:r>
              <a:rPr lang="en-US"/>
              <a:t> on the planet to achieve more. We believe technology can and should be a force for good and that meaningful innovation can and will contribute to a brighter world in big and small ways.</a:t>
            </a:r>
          </a:p>
        </p:txBody>
      </p:sp>
    </p:spTree>
    <p:extLst>
      <p:ext uri="{BB962C8B-B14F-4D97-AF65-F5344CB8AC3E}">
        <p14:creationId xmlns:p14="http://schemas.microsoft.com/office/powerpoint/2010/main" val="345873975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hoto Flip (Subtitle)">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A0B60FAD-F4DA-4A90-8B57-C6B13B1CDA63}"/>
              </a:ext>
            </a:extLst>
          </p:cNvPr>
          <p:cNvSpPr>
            <a:spLocks noGrp="1"/>
          </p:cNvSpPr>
          <p:nvPr>
            <p:ph type="pic" sz="quarter" idx="13"/>
          </p:nvPr>
        </p:nvSpPr>
        <p:spPr>
          <a:xfrm>
            <a:off x="0" y="0"/>
            <a:ext cx="5826125" cy="6858000"/>
          </a:xfrm>
          <a:solidFill>
            <a:srgbClr val="2F2F2F"/>
          </a:solidFill>
        </p:spPr>
        <p:txBody>
          <a:bodyPr/>
          <a:lstStyle>
            <a:lvl1pPr marL="0" indent="0">
              <a:buNone/>
              <a:defRPr/>
            </a:lvl1pPr>
          </a:lstStyle>
          <a:p>
            <a:endParaRPr lang="en-GB"/>
          </a:p>
        </p:txBody>
      </p:sp>
      <p:sp>
        <p:nvSpPr>
          <p:cNvPr id="6" name="Text Placeholder 5">
            <a:extLst>
              <a:ext uri="{FF2B5EF4-FFF2-40B4-BE49-F238E27FC236}">
                <a16:creationId xmlns:a16="http://schemas.microsoft.com/office/drawing/2014/main" id="{C0700FF8-C3FA-43B6-99EE-057A17FA5964}"/>
              </a:ext>
            </a:extLst>
          </p:cNvPr>
          <p:cNvSpPr>
            <a:spLocks noGrp="1"/>
          </p:cNvSpPr>
          <p:nvPr>
            <p:ph type="body" sz="quarter" idx="10" hasCustomPrompt="1"/>
          </p:nvPr>
        </p:nvSpPr>
        <p:spPr>
          <a:xfrm>
            <a:off x="6361112" y="538163"/>
            <a:ext cx="5284788" cy="498598"/>
          </a:xfrm>
        </p:spPr>
        <p:txBody>
          <a:bodyPr wrap="square" lIns="0" tIns="0" rIns="0" bIns="0">
            <a:spAutoFit/>
          </a:bodyPr>
          <a:lstStyle>
            <a:lvl1pPr marL="0" indent="0">
              <a:buNone/>
              <a:defRPr sz="3600" b="0">
                <a:solidFill>
                  <a:srgbClr val="243A5E"/>
                </a:solidFill>
                <a:latin typeface="+mj-lt"/>
              </a:defRPr>
            </a:lvl1pPr>
          </a:lstStyle>
          <a:p>
            <a:pPr lvl="0"/>
            <a:r>
              <a:rPr lang="en-GB"/>
              <a:t>Slide title</a:t>
            </a:r>
          </a:p>
        </p:txBody>
      </p:sp>
      <p:sp>
        <p:nvSpPr>
          <p:cNvPr id="8" name="Text Placeholder 7">
            <a:extLst>
              <a:ext uri="{FF2B5EF4-FFF2-40B4-BE49-F238E27FC236}">
                <a16:creationId xmlns:a16="http://schemas.microsoft.com/office/drawing/2014/main" id="{67A12113-3B99-4240-A379-207D1B3D55F0}"/>
              </a:ext>
            </a:extLst>
          </p:cNvPr>
          <p:cNvSpPr>
            <a:spLocks noGrp="1"/>
          </p:cNvSpPr>
          <p:nvPr>
            <p:ph type="body" sz="quarter" idx="11" hasCustomPrompt="1"/>
          </p:nvPr>
        </p:nvSpPr>
        <p:spPr>
          <a:xfrm>
            <a:off x="6361113" y="1704076"/>
            <a:ext cx="5284787" cy="4596713"/>
          </a:xfrm>
        </p:spPr>
        <p:txBody>
          <a:bodyPr lIns="0" tIns="0" rIns="0" bIns="0">
            <a:normAutofit/>
          </a:bodyPr>
          <a:lstStyle>
            <a:lvl1pPr marL="0" indent="0">
              <a:buNone/>
              <a:defRPr sz="2200">
                <a:solidFill>
                  <a:schemeClr val="tx1"/>
                </a:solidFill>
              </a:defRPr>
            </a:lvl1pPr>
          </a:lstStyle>
          <a:p>
            <a:pPr lvl="0"/>
            <a:r>
              <a:rPr lang="en-US"/>
              <a:t>Our mission is to empower every person and every </a:t>
            </a:r>
            <a:r>
              <a:rPr lang="en-GB" noProof="0"/>
              <a:t>organisation</a:t>
            </a:r>
            <a:r>
              <a:rPr lang="en-US"/>
              <a:t> on the planet to achieve more. We believe technology can and should be a force for good and that meaningful innovation can and will contribute to a brighter world in big and small ways.</a:t>
            </a:r>
          </a:p>
        </p:txBody>
      </p:sp>
      <p:sp>
        <p:nvSpPr>
          <p:cNvPr id="5" name="Text Placeholder 5">
            <a:extLst>
              <a:ext uri="{FF2B5EF4-FFF2-40B4-BE49-F238E27FC236}">
                <a16:creationId xmlns:a16="http://schemas.microsoft.com/office/drawing/2014/main" id="{0E34B3F9-47B0-4EC2-8340-1423BFA9C8DE}"/>
              </a:ext>
            </a:extLst>
          </p:cNvPr>
          <p:cNvSpPr>
            <a:spLocks noGrp="1"/>
          </p:cNvSpPr>
          <p:nvPr>
            <p:ph type="body" sz="quarter" idx="12" hasCustomPrompt="1"/>
          </p:nvPr>
        </p:nvSpPr>
        <p:spPr>
          <a:xfrm>
            <a:off x="6365081" y="1218076"/>
            <a:ext cx="5280819" cy="304699"/>
          </a:xfrm>
        </p:spPr>
        <p:txBody>
          <a:bodyPr wrap="square" lIns="0" tIns="0" rIns="0" bIns="0">
            <a:spAutoFit/>
          </a:bodyPr>
          <a:lstStyle>
            <a:lvl1pPr marL="0" indent="0">
              <a:buNone/>
              <a:defRPr sz="2200" b="1">
                <a:solidFill>
                  <a:srgbClr val="737373"/>
                </a:solidFill>
              </a:defRPr>
            </a:lvl1pPr>
          </a:lstStyle>
          <a:p>
            <a:pPr lvl="0"/>
            <a:r>
              <a:rPr lang="en-GB"/>
              <a:t>Subtitle</a:t>
            </a:r>
          </a:p>
        </p:txBody>
      </p:sp>
    </p:spTree>
    <p:extLst>
      <p:ext uri="{BB962C8B-B14F-4D97-AF65-F5344CB8AC3E}">
        <p14:creationId xmlns:p14="http://schemas.microsoft.com/office/powerpoint/2010/main" val="281126258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243A5E"/>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1843168"/>
      </p:ext>
    </p:extLst>
  </p:cSld>
  <p:clrMapOvr>
    <a:masterClrMapping/>
  </p:clrMapOvr>
  <p:transition>
    <p:fade/>
  </p:transition>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Outro">
    <p:bg>
      <p:bgPr>
        <a:solidFill>
          <a:srgbClr val="243A5E"/>
        </a:solidFill>
        <a:effectLst/>
      </p:bgPr>
    </p:bg>
    <p:spTree>
      <p:nvGrpSpPr>
        <p:cNvPr id="1" name=""/>
        <p:cNvGrpSpPr/>
        <p:nvPr/>
      </p:nvGrpSpPr>
      <p:grpSpPr>
        <a:xfrm>
          <a:off x="0" y="0"/>
          <a:ext cx="0" cy="0"/>
          <a:chOff x="0" y="0"/>
          <a:chExt cx="0" cy="0"/>
        </a:xfrm>
      </p:grpSpPr>
      <p:sp>
        <p:nvSpPr>
          <p:cNvPr id="10" name="Text Placeholder 23">
            <a:extLst>
              <a:ext uri="{FF2B5EF4-FFF2-40B4-BE49-F238E27FC236}">
                <a16:creationId xmlns:a16="http://schemas.microsoft.com/office/drawing/2014/main" id="{70D99F0E-4F5D-420A-8920-93043C3CDED7}"/>
              </a:ext>
            </a:extLst>
          </p:cNvPr>
          <p:cNvSpPr>
            <a:spLocks noGrp="1"/>
          </p:cNvSpPr>
          <p:nvPr>
            <p:ph type="body" sz="quarter" idx="13" hasCustomPrompt="1"/>
          </p:nvPr>
        </p:nvSpPr>
        <p:spPr>
          <a:xfrm>
            <a:off x="538163" y="3179701"/>
            <a:ext cx="5284787" cy="498598"/>
          </a:xfrm>
        </p:spPr>
        <p:txBody>
          <a:bodyPr wrap="square" lIns="0" tIns="0" rIns="0" bIns="0" anchor="ctr" anchorCtr="0">
            <a:spAutoFit/>
          </a:bodyPr>
          <a:lstStyle>
            <a:lvl1pPr marL="0" indent="0">
              <a:buNone/>
              <a:defRPr sz="3600" b="0">
                <a:solidFill>
                  <a:srgbClr val="50E6FF"/>
                </a:solidFill>
                <a:latin typeface="+mj-lt"/>
              </a:defRPr>
            </a:lvl1pPr>
            <a:lvl5pPr>
              <a:defRPr/>
            </a:lvl5pPr>
          </a:lstStyle>
          <a:p>
            <a:pPr lvl="0"/>
            <a:r>
              <a:rPr lang="en-US"/>
              <a:t>Thank you</a:t>
            </a:r>
            <a:endParaRPr lang="en-GB"/>
          </a:p>
        </p:txBody>
      </p:sp>
      <p:sp>
        <p:nvSpPr>
          <p:cNvPr id="8" name="Text Box 3" descr="This is a copyright notice that should be included on the final slide.">
            <a:extLst>
              <a:ext uri="{FF2B5EF4-FFF2-40B4-BE49-F238E27FC236}">
                <a16:creationId xmlns:a16="http://schemas.microsoft.com/office/drawing/2014/main" id="{05EE736F-AFA6-4E7C-A203-E4E1FE74576C}"/>
              </a:ext>
            </a:extLst>
          </p:cNvPr>
          <p:cNvSpPr txBox="1">
            <a:spLocks noChangeArrowheads="1"/>
          </p:cNvSpPr>
          <p:nvPr userDrawn="1"/>
        </p:nvSpPr>
        <p:spPr bwMode="blackWhite">
          <a:xfrm>
            <a:off x="538163" y="6212115"/>
            <a:ext cx="5557836"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rgbClr val="FFFFFF"/>
                </a:solidFill>
                <a:cs typeface="Segoe UI" pitchFamily="34" charset="0"/>
              </a:rPr>
              <a:t>© Copyright Microsoft Corporation. All rights reserved. </a:t>
            </a:r>
          </a:p>
        </p:txBody>
      </p:sp>
      <p:pic>
        <p:nvPicPr>
          <p:cNvPr id="13" name="MS logo white - EMF" descr="Microsoft logo white text version">
            <a:extLst>
              <a:ext uri="{FF2B5EF4-FFF2-40B4-BE49-F238E27FC236}">
                <a16:creationId xmlns:a16="http://schemas.microsoft.com/office/drawing/2014/main" id="{C97DC94E-E228-4D80-B068-6602E434112B}"/>
              </a:ext>
            </a:extLst>
          </p:cNvPr>
          <p:cNvPicPr>
            <a:picLocks noChangeAspect="1"/>
          </p:cNvPicPr>
          <p:nvPr userDrawn="1"/>
        </p:nvPicPr>
        <p:blipFill>
          <a:blip r:embed="rId2"/>
          <a:stretch>
            <a:fillRect/>
          </a:stretch>
        </p:blipFill>
        <p:spPr bwMode="black">
          <a:xfrm>
            <a:off x="538163" y="538163"/>
            <a:ext cx="1366245" cy="292608"/>
          </a:xfrm>
          <a:prstGeom prst="rect">
            <a:avLst/>
          </a:prstGeom>
        </p:spPr>
      </p:pic>
    </p:spTree>
    <p:extLst>
      <p:ext uri="{BB962C8B-B14F-4D97-AF65-F5344CB8AC3E}">
        <p14:creationId xmlns:p14="http://schemas.microsoft.com/office/powerpoint/2010/main" val="258531753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985641"/>
          </a:xfrm>
        </p:spPr>
        <p:txBody>
          <a:bodyPr>
            <a:spAutoFit/>
          </a:bodyPr>
          <a:lstStyle>
            <a:lvl1pPr>
              <a:defRPr sz="3528"/>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2295632"/>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5C402D7-C880-4E53-8DA0-EDA4DB2F1010}"/>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EF8883B9-E80E-499C-90AE-76E4031C6FE0}"/>
              </a:ext>
            </a:extLst>
          </p:cNvPr>
          <p:cNvSpPr/>
          <p:nvPr userDrawn="1"/>
        </p:nvSpPr>
        <p:spPr bwMode="auto">
          <a:xfrm>
            <a:off x="0" y="0"/>
            <a:ext cx="5334000" cy="68580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30564718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2D96457C-1416-400D-9400-BB41A4DB324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5784906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3740042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495627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51893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094415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64096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56609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289105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982558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906143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Tree>
    <p:extLst>
      <p:ext uri="{BB962C8B-B14F-4D97-AF65-F5344CB8AC3E}">
        <p14:creationId xmlns:p14="http://schemas.microsoft.com/office/powerpoint/2010/main" val="81763492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Tree>
    <p:extLst>
      <p:ext uri="{BB962C8B-B14F-4D97-AF65-F5344CB8AC3E}">
        <p14:creationId xmlns:p14="http://schemas.microsoft.com/office/powerpoint/2010/main" val="353534595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129717935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68987177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57153161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10777944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202114620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129217450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4065086548"/>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272554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416878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355182988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329512461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Tree>
    <p:extLst>
      <p:ext uri="{BB962C8B-B14F-4D97-AF65-F5344CB8AC3E}">
        <p14:creationId xmlns:p14="http://schemas.microsoft.com/office/powerpoint/2010/main" val="296326965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6093371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1059533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17DBA3A-69FE-46A8-926E-18B40F127D1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217DBA3A-69FE-46A8-926E-18B40F127D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C328BB1-2DC0-4A07-91DF-E9F4FCB71C41}"/>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36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p:cNvSpPr>
            <a:spLocks noGrp="1"/>
          </p:cNvSpPr>
          <p:nvPr>
            <p:ph type="title" hasCustomPrompt="1"/>
          </p:nvPr>
        </p:nvSpPr>
        <p:spPr>
          <a:xfrm>
            <a:off x="584200" y="3035808"/>
            <a:ext cx="8757666"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2027836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640274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60414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8842518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468732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6098349"/>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9500111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79373977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B8A6641-1A8E-4013-A4C7-53C05607296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25899" y="6078822"/>
            <a:ext cx="1620000" cy="231491"/>
          </a:xfrm>
          <a:prstGeom prst="rect">
            <a:avLst/>
          </a:prstGeom>
        </p:spPr>
      </p:pic>
      <p:sp>
        <p:nvSpPr>
          <p:cNvPr id="6" name="Text Placeholder 5">
            <a:extLst>
              <a:ext uri="{FF2B5EF4-FFF2-40B4-BE49-F238E27FC236}">
                <a16:creationId xmlns:a16="http://schemas.microsoft.com/office/drawing/2014/main" id="{C0700FF8-C3FA-43B6-99EE-057A17FA5964}"/>
              </a:ext>
            </a:extLst>
          </p:cNvPr>
          <p:cNvSpPr>
            <a:spLocks noGrp="1"/>
          </p:cNvSpPr>
          <p:nvPr>
            <p:ph type="body" sz="quarter" idx="10" hasCustomPrompt="1"/>
          </p:nvPr>
        </p:nvSpPr>
        <p:spPr>
          <a:xfrm>
            <a:off x="538162" y="547687"/>
            <a:ext cx="11107738" cy="498598"/>
          </a:xfrm>
        </p:spPr>
        <p:txBody>
          <a:bodyPr wrap="square" lIns="0" tIns="0" rIns="0" bIns="0">
            <a:spAutoFit/>
          </a:bodyPr>
          <a:lstStyle>
            <a:lvl1pPr marL="0" indent="0">
              <a:buNone/>
              <a:defRPr sz="3600" b="1">
                <a:solidFill>
                  <a:srgbClr val="0078D4"/>
                </a:solidFill>
              </a:defRPr>
            </a:lvl1pPr>
          </a:lstStyle>
          <a:p>
            <a:pPr lvl="0"/>
            <a:r>
              <a:rPr lang="en-GB"/>
              <a:t>Slide title</a:t>
            </a:r>
          </a:p>
        </p:txBody>
      </p:sp>
      <p:sp>
        <p:nvSpPr>
          <p:cNvPr id="8" name="Text Placeholder 7">
            <a:extLst>
              <a:ext uri="{FF2B5EF4-FFF2-40B4-BE49-F238E27FC236}">
                <a16:creationId xmlns:a16="http://schemas.microsoft.com/office/drawing/2014/main" id="{67A12113-3B99-4240-A379-207D1B3D55F0}"/>
              </a:ext>
            </a:extLst>
          </p:cNvPr>
          <p:cNvSpPr>
            <a:spLocks noGrp="1"/>
          </p:cNvSpPr>
          <p:nvPr>
            <p:ph type="body" sz="quarter" idx="11" hasCustomPrompt="1"/>
          </p:nvPr>
        </p:nvSpPr>
        <p:spPr>
          <a:xfrm>
            <a:off x="538163" y="1414799"/>
            <a:ext cx="11107736" cy="4301789"/>
          </a:xfrm>
        </p:spPr>
        <p:txBody>
          <a:bodyPr lIns="0" tIns="0" rIns="0" bIns="0">
            <a:normAutofit/>
          </a:bodyPr>
          <a:lstStyle>
            <a:lvl1pPr marL="0" indent="0">
              <a:buNone/>
              <a:defRPr sz="2200"/>
            </a:lvl1pPr>
          </a:lstStyle>
          <a:p>
            <a:pPr lvl="0"/>
            <a:r>
              <a:rPr lang="en-US"/>
              <a:t>Our mission is to empower every person and every </a:t>
            </a:r>
            <a:r>
              <a:rPr lang="en-GB" noProof="0"/>
              <a:t>organisation</a:t>
            </a:r>
            <a:r>
              <a:rPr lang="en-US"/>
              <a:t> on the planet to achieve more. We believe technology can and should be a force for good and that meaningful innovation can and will contribute to a brighter world in big and small ways.</a:t>
            </a:r>
          </a:p>
        </p:txBody>
      </p:sp>
    </p:spTree>
    <p:extLst>
      <p:ext uri="{BB962C8B-B14F-4D97-AF65-F5344CB8AC3E}">
        <p14:creationId xmlns:p14="http://schemas.microsoft.com/office/powerpoint/2010/main" val="165600895"/>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B8A6641-1A8E-4013-A4C7-53C05607296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25899" y="6078822"/>
            <a:ext cx="1620000" cy="231491"/>
          </a:xfrm>
          <a:prstGeom prst="rect">
            <a:avLst/>
          </a:prstGeom>
        </p:spPr>
      </p:pic>
      <p:sp>
        <p:nvSpPr>
          <p:cNvPr id="6" name="Text Placeholder 5">
            <a:extLst>
              <a:ext uri="{FF2B5EF4-FFF2-40B4-BE49-F238E27FC236}">
                <a16:creationId xmlns:a16="http://schemas.microsoft.com/office/drawing/2014/main" id="{C0700FF8-C3FA-43B6-99EE-057A17FA5964}"/>
              </a:ext>
            </a:extLst>
          </p:cNvPr>
          <p:cNvSpPr>
            <a:spLocks noGrp="1"/>
          </p:cNvSpPr>
          <p:nvPr>
            <p:ph type="body" sz="quarter" idx="10" hasCustomPrompt="1"/>
          </p:nvPr>
        </p:nvSpPr>
        <p:spPr>
          <a:xfrm>
            <a:off x="538162" y="547687"/>
            <a:ext cx="11107738" cy="498598"/>
          </a:xfrm>
        </p:spPr>
        <p:txBody>
          <a:bodyPr wrap="square" lIns="0" tIns="0" rIns="0" bIns="0">
            <a:spAutoFit/>
          </a:bodyPr>
          <a:lstStyle>
            <a:lvl1pPr marL="0" indent="0">
              <a:buNone/>
              <a:defRPr sz="3600" b="1">
                <a:solidFill>
                  <a:srgbClr val="0078D4"/>
                </a:solidFill>
              </a:defRPr>
            </a:lvl1pPr>
          </a:lstStyle>
          <a:p>
            <a:pPr lvl="0"/>
            <a:r>
              <a:rPr lang="en-GB"/>
              <a:t>Slide title</a:t>
            </a:r>
          </a:p>
        </p:txBody>
      </p:sp>
      <p:sp>
        <p:nvSpPr>
          <p:cNvPr id="8" name="Text Placeholder 7">
            <a:extLst>
              <a:ext uri="{FF2B5EF4-FFF2-40B4-BE49-F238E27FC236}">
                <a16:creationId xmlns:a16="http://schemas.microsoft.com/office/drawing/2014/main" id="{67A12113-3B99-4240-A379-207D1B3D55F0}"/>
              </a:ext>
            </a:extLst>
          </p:cNvPr>
          <p:cNvSpPr>
            <a:spLocks noGrp="1"/>
          </p:cNvSpPr>
          <p:nvPr>
            <p:ph type="body" sz="quarter" idx="11" hasCustomPrompt="1"/>
          </p:nvPr>
        </p:nvSpPr>
        <p:spPr>
          <a:xfrm>
            <a:off x="538163" y="1414799"/>
            <a:ext cx="5284787" cy="4301789"/>
          </a:xfrm>
        </p:spPr>
        <p:txBody>
          <a:bodyPr lIns="0" tIns="0" rIns="0" bIns="0">
            <a:normAutofit/>
          </a:bodyPr>
          <a:lstStyle>
            <a:lvl1pPr marL="0" indent="0">
              <a:buNone/>
              <a:defRPr sz="2200"/>
            </a:lvl1pPr>
          </a:lstStyle>
          <a:p>
            <a:pPr lvl="0"/>
            <a:r>
              <a:rPr lang="en-US"/>
              <a:t>Our mission is to empower every person and every </a:t>
            </a:r>
            <a:r>
              <a:rPr lang="en-GB" noProof="0"/>
              <a:t>organisation</a:t>
            </a:r>
            <a:r>
              <a:rPr lang="en-US"/>
              <a:t> on the planet to achieve more. We believe technology can and should be a force for good and that meaningful innovation can and will contribute to a brighter world in big and small ways.</a:t>
            </a:r>
          </a:p>
        </p:txBody>
      </p:sp>
      <p:sp>
        <p:nvSpPr>
          <p:cNvPr id="5" name="Text Placeholder 7">
            <a:extLst>
              <a:ext uri="{FF2B5EF4-FFF2-40B4-BE49-F238E27FC236}">
                <a16:creationId xmlns:a16="http://schemas.microsoft.com/office/drawing/2014/main" id="{BE0B3380-0DF7-40FB-A3DE-59B776D34B8D}"/>
              </a:ext>
            </a:extLst>
          </p:cNvPr>
          <p:cNvSpPr>
            <a:spLocks noGrp="1"/>
          </p:cNvSpPr>
          <p:nvPr>
            <p:ph type="body" sz="quarter" idx="12" hasCustomPrompt="1"/>
          </p:nvPr>
        </p:nvSpPr>
        <p:spPr>
          <a:xfrm>
            <a:off x="6361112" y="1414801"/>
            <a:ext cx="5284787" cy="4301788"/>
          </a:xfrm>
        </p:spPr>
        <p:txBody>
          <a:bodyPr lIns="0" tIns="0" rIns="0" bIns="0">
            <a:normAutofit/>
          </a:bodyPr>
          <a:lstStyle>
            <a:lvl1pPr marL="0" indent="0">
              <a:buNone/>
              <a:defRPr sz="2200"/>
            </a:lvl1pPr>
          </a:lstStyle>
          <a:p>
            <a:pPr lvl="0"/>
            <a:r>
              <a:rPr lang="en-US"/>
              <a:t>Our mission is to empower every person and every </a:t>
            </a:r>
            <a:r>
              <a:rPr lang="en-GB" noProof="0"/>
              <a:t>organisation</a:t>
            </a:r>
            <a:r>
              <a:rPr lang="en-US"/>
              <a:t> on the planet to achieve more. We believe technology can and should be a force for good and that meaningful innovation can and will contribute to a brighter world in big and small ways.</a:t>
            </a:r>
          </a:p>
        </p:txBody>
      </p:sp>
    </p:spTree>
    <p:extLst>
      <p:ext uri="{BB962C8B-B14F-4D97-AF65-F5344CB8AC3E}">
        <p14:creationId xmlns:p14="http://schemas.microsoft.com/office/powerpoint/2010/main" val="374072952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B8A6641-1A8E-4013-A4C7-53C05607296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25899" y="6078822"/>
            <a:ext cx="1620000" cy="231491"/>
          </a:xfrm>
          <a:prstGeom prst="rect">
            <a:avLst/>
          </a:prstGeom>
        </p:spPr>
      </p:pic>
      <p:sp>
        <p:nvSpPr>
          <p:cNvPr id="6" name="Text Placeholder 5">
            <a:extLst>
              <a:ext uri="{FF2B5EF4-FFF2-40B4-BE49-F238E27FC236}">
                <a16:creationId xmlns:a16="http://schemas.microsoft.com/office/drawing/2014/main" id="{C0700FF8-C3FA-43B6-99EE-057A17FA5964}"/>
              </a:ext>
            </a:extLst>
          </p:cNvPr>
          <p:cNvSpPr>
            <a:spLocks noGrp="1"/>
          </p:cNvSpPr>
          <p:nvPr>
            <p:ph type="body" sz="quarter" idx="10" hasCustomPrompt="1"/>
          </p:nvPr>
        </p:nvSpPr>
        <p:spPr>
          <a:xfrm>
            <a:off x="538162" y="547687"/>
            <a:ext cx="11107738" cy="498598"/>
          </a:xfrm>
        </p:spPr>
        <p:txBody>
          <a:bodyPr wrap="square" lIns="0" tIns="0" rIns="0" bIns="0">
            <a:spAutoFit/>
          </a:bodyPr>
          <a:lstStyle>
            <a:lvl1pPr marL="0" indent="0">
              <a:buNone/>
              <a:defRPr sz="3600" b="1">
                <a:solidFill>
                  <a:srgbClr val="0078D4"/>
                </a:solidFill>
              </a:defRPr>
            </a:lvl1pPr>
          </a:lstStyle>
          <a:p>
            <a:pPr lvl="0"/>
            <a:r>
              <a:rPr lang="en-GB"/>
              <a:t>Slide title</a:t>
            </a:r>
          </a:p>
        </p:txBody>
      </p:sp>
      <p:sp>
        <p:nvSpPr>
          <p:cNvPr id="8" name="Text Placeholder 7">
            <a:extLst>
              <a:ext uri="{FF2B5EF4-FFF2-40B4-BE49-F238E27FC236}">
                <a16:creationId xmlns:a16="http://schemas.microsoft.com/office/drawing/2014/main" id="{67A12113-3B99-4240-A379-207D1B3D55F0}"/>
              </a:ext>
            </a:extLst>
          </p:cNvPr>
          <p:cNvSpPr>
            <a:spLocks noGrp="1"/>
          </p:cNvSpPr>
          <p:nvPr>
            <p:ph type="body" sz="quarter" idx="11" hasCustomPrompt="1"/>
          </p:nvPr>
        </p:nvSpPr>
        <p:spPr>
          <a:xfrm>
            <a:off x="538161" y="1414800"/>
            <a:ext cx="3463200" cy="4301788"/>
          </a:xfrm>
        </p:spPr>
        <p:txBody>
          <a:bodyPr lIns="0" tIns="0" rIns="0" bIns="0">
            <a:normAutofit/>
          </a:bodyPr>
          <a:lstStyle>
            <a:lvl1pPr marL="0" indent="0">
              <a:buNone/>
              <a:defRPr sz="2200"/>
            </a:lvl1pPr>
          </a:lstStyle>
          <a:p>
            <a:pPr lvl="0"/>
            <a:r>
              <a:rPr lang="en-US"/>
              <a:t>Our mission is to empower every person and every </a:t>
            </a:r>
            <a:r>
              <a:rPr lang="en-GB" noProof="0"/>
              <a:t>organisation</a:t>
            </a:r>
            <a:r>
              <a:rPr lang="en-US"/>
              <a:t> on the planet to achieve more. We believe technology can and should be a force for good and that meaningful innovation can and will contribute to a brighter world in big and small ways.</a:t>
            </a:r>
          </a:p>
        </p:txBody>
      </p:sp>
      <p:sp>
        <p:nvSpPr>
          <p:cNvPr id="11" name="Text Placeholder 7">
            <a:extLst>
              <a:ext uri="{FF2B5EF4-FFF2-40B4-BE49-F238E27FC236}">
                <a16:creationId xmlns:a16="http://schemas.microsoft.com/office/drawing/2014/main" id="{2DE404A3-B184-4B1E-9049-DC3AD8C4514C}"/>
              </a:ext>
            </a:extLst>
          </p:cNvPr>
          <p:cNvSpPr>
            <a:spLocks noGrp="1"/>
          </p:cNvSpPr>
          <p:nvPr>
            <p:ph type="body" sz="quarter" idx="12" hasCustomPrompt="1"/>
          </p:nvPr>
        </p:nvSpPr>
        <p:spPr>
          <a:xfrm>
            <a:off x="4364400" y="1414801"/>
            <a:ext cx="3463200" cy="4301788"/>
          </a:xfrm>
        </p:spPr>
        <p:txBody>
          <a:bodyPr lIns="0" tIns="0" rIns="0" bIns="0">
            <a:normAutofit/>
          </a:bodyPr>
          <a:lstStyle>
            <a:lvl1pPr marL="0" indent="0">
              <a:buNone/>
              <a:defRPr sz="2200"/>
            </a:lvl1pPr>
          </a:lstStyle>
          <a:p>
            <a:pPr lvl="0"/>
            <a:r>
              <a:rPr lang="en-US"/>
              <a:t>Our mission is to empower every person and every </a:t>
            </a:r>
            <a:r>
              <a:rPr lang="en-GB" noProof="0"/>
              <a:t>organisation</a:t>
            </a:r>
            <a:r>
              <a:rPr lang="en-US"/>
              <a:t> on the planet to achieve more. We believe technology can and should be a force for good and that meaningful innovation can and will contribute to a brighter world in big and small ways.</a:t>
            </a:r>
          </a:p>
        </p:txBody>
      </p:sp>
      <p:sp>
        <p:nvSpPr>
          <p:cNvPr id="12" name="Text Placeholder 7">
            <a:extLst>
              <a:ext uri="{FF2B5EF4-FFF2-40B4-BE49-F238E27FC236}">
                <a16:creationId xmlns:a16="http://schemas.microsoft.com/office/drawing/2014/main" id="{8E645A76-A4C4-4A53-881E-9BDE02DB6B30}"/>
              </a:ext>
            </a:extLst>
          </p:cNvPr>
          <p:cNvSpPr>
            <a:spLocks noGrp="1"/>
          </p:cNvSpPr>
          <p:nvPr>
            <p:ph type="body" sz="quarter" idx="13" hasCustomPrompt="1"/>
          </p:nvPr>
        </p:nvSpPr>
        <p:spPr>
          <a:xfrm>
            <a:off x="8190639" y="1414801"/>
            <a:ext cx="3463200" cy="4301788"/>
          </a:xfrm>
        </p:spPr>
        <p:txBody>
          <a:bodyPr lIns="0" tIns="0" rIns="0" bIns="0">
            <a:normAutofit/>
          </a:bodyPr>
          <a:lstStyle>
            <a:lvl1pPr marL="0" indent="0">
              <a:buNone/>
              <a:defRPr sz="2200"/>
            </a:lvl1pPr>
          </a:lstStyle>
          <a:p>
            <a:pPr lvl="0"/>
            <a:r>
              <a:rPr lang="en-US"/>
              <a:t>Our mission is to empower every person and every </a:t>
            </a:r>
            <a:r>
              <a:rPr lang="en-GB" noProof="0"/>
              <a:t>organisation</a:t>
            </a:r>
            <a:r>
              <a:rPr lang="en-US"/>
              <a:t> on the planet to achieve more. We believe technology can and should be a force for good and that meaningful innovation can and will contribute to a brighter world in big and small ways.</a:t>
            </a:r>
          </a:p>
        </p:txBody>
      </p:sp>
    </p:spTree>
    <p:extLst>
      <p:ext uri="{BB962C8B-B14F-4D97-AF65-F5344CB8AC3E}">
        <p14:creationId xmlns:p14="http://schemas.microsoft.com/office/powerpoint/2010/main" val="3245003487"/>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Photo">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0700FF8-C3FA-43B6-99EE-057A17FA5964}"/>
              </a:ext>
            </a:extLst>
          </p:cNvPr>
          <p:cNvSpPr>
            <a:spLocks noGrp="1"/>
          </p:cNvSpPr>
          <p:nvPr>
            <p:ph type="body" sz="quarter" idx="10" hasCustomPrompt="1"/>
          </p:nvPr>
        </p:nvSpPr>
        <p:spPr>
          <a:xfrm>
            <a:off x="538162" y="547687"/>
            <a:ext cx="5284788" cy="498598"/>
          </a:xfrm>
        </p:spPr>
        <p:txBody>
          <a:bodyPr wrap="square" lIns="0" tIns="0" rIns="0" bIns="0">
            <a:spAutoFit/>
          </a:bodyPr>
          <a:lstStyle>
            <a:lvl1pPr marL="0" indent="0">
              <a:buNone/>
              <a:defRPr sz="3600" b="1">
                <a:solidFill>
                  <a:srgbClr val="0078D4"/>
                </a:solidFill>
              </a:defRPr>
            </a:lvl1pPr>
          </a:lstStyle>
          <a:p>
            <a:pPr lvl="0"/>
            <a:r>
              <a:rPr lang="en-GB"/>
              <a:t>Slide title</a:t>
            </a:r>
          </a:p>
        </p:txBody>
      </p:sp>
      <p:sp>
        <p:nvSpPr>
          <p:cNvPr id="8" name="Text Placeholder 7">
            <a:extLst>
              <a:ext uri="{FF2B5EF4-FFF2-40B4-BE49-F238E27FC236}">
                <a16:creationId xmlns:a16="http://schemas.microsoft.com/office/drawing/2014/main" id="{67A12113-3B99-4240-A379-207D1B3D55F0}"/>
              </a:ext>
            </a:extLst>
          </p:cNvPr>
          <p:cNvSpPr>
            <a:spLocks noGrp="1"/>
          </p:cNvSpPr>
          <p:nvPr>
            <p:ph type="body" sz="quarter" idx="11" hasCustomPrompt="1"/>
          </p:nvPr>
        </p:nvSpPr>
        <p:spPr>
          <a:xfrm>
            <a:off x="538163" y="1414799"/>
            <a:ext cx="5284787" cy="4895513"/>
          </a:xfrm>
        </p:spPr>
        <p:txBody>
          <a:bodyPr lIns="0" tIns="0" rIns="0" bIns="0">
            <a:normAutofit/>
          </a:bodyPr>
          <a:lstStyle>
            <a:lvl1pPr marL="0" indent="0">
              <a:buNone/>
              <a:defRPr sz="2200"/>
            </a:lvl1pPr>
          </a:lstStyle>
          <a:p>
            <a:pPr lvl="0"/>
            <a:r>
              <a:rPr lang="en-US"/>
              <a:t>Our mission is to empower every person and every </a:t>
            </a:r>
            <a:r>
              <a:rPr lang="en-GB" noProof="0"/>
              <a:t>organisation</a:t>
            </a:r>
            <a:r>
              <a:rPr lang="en-US"/>
              <a:t> on the planet to achieve more. We believe technology can and should be a force for good and that meaningful innovation can and will contribute to a brighter world in big and small ways.</a:t>
            </a:r>
          </a:p>
        </p:txBody>
      </p:sp>
      <p:sp>
        <p:nvSpPr>
          <p:cNvPr id="3" name="Picture Placeholder 2">
            <a:extLst>
              <a:ext uri="{FF2B5EF4-FFF2-40B4-BE49-F238E27FC236}">
                <a16:creationId xmlns:a16="http://schemas.microsoft.com/office/drawing/2014/main" id="{E9C49ADC-6F1E-45DF-89CC-BF7458559E25}"/>
              </a:ext>
            </a:extLst>
          </p:cNvPr>
          <p:cNvSpPr>
            <a:spLocks noGrp="1"/>
          </p:cNvSpPr>
          <p:nvPr>
            <p:ph type="pic" sz="quarter" idx="12"/>
          </p:nvPr>
        </p:nvSpPr>
        <p:spPr>
          <a:xfrm>
            <a:off x="6365874" y="0"/>
            <a:ext cx="5826125" cy="6858000"/>
          </a:xfrm>
          <a:solidFill>
            <a:srgbClr val="000000"/>
          </a:solidFill>
        </p:spPr>
        <p:txBody>
          <a:bodyPr/>
          <a:lstStyle>
            <a:lvl1pPr marL="0" indent="0">
              <a:buNone/>
              <a:defRPr/>
            </a:lvl1pPr>
          </a:lstStyle>
          <a:p>
            <a:endParaRPr lang="en-GB"/>
          </a:p>
        </p:txBody>
      </p:sp>
    </p:spTree>
    <p:extLst>
      <p:ext uri="{BB962C8B-B14F-4D97-AF65-F5344CB8AC3E}">
        <p14:creationId xmlns:p14="http://schemas.microsoft.com/office/powerpoint/2010/main" val="601602790"/>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One Column (Subtitl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B8A6641-1A8E-4013-A4C7-53C05607296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25899" y="6078822"/>
            <a:ext cx="1620000" cy="231491"/>
          </a:xfrm>
          <a:prstGeom prst="rect">
            <a:avLst/>
          </a:prstGeom>
        </p:spPr>
      </p:pic>
      <p:sp>
        <p:nvSpPr>
          <p:cNvPr id="6" name="Text Placeholder 5">
            <a:extLst>
              <a:ext uri="{FF2B5EF4-FFF2-40B4-BE49-F238E27FC236}">
                <a16:creationId xmlns:a16="http://schemas.microsoft.com/office/drawing/2014/main" id="{C0700FF8-C3FA-43B6-99EE-057A17FA5964}"/>
              </a:ext>
            </a:extLst>
          </p:cNvPr>
          <p:cNvSpPr>
            <a:spLocks noGrp="1"/>
          </p:cNvSpPr>
          <p:nvPr>
            <p:ph type="body" sz="quarter" idx="10" hasCustomPrompt="1"/>
          </p:nvPr>
        </p:nvSpPr>
        <p:spPr>
          <a:xfrm>
            <a:off x="538162" y="547687"/>
            <a:ext cx="11107738" cy="498598"/>
          </a:xfrm>
        </p:spPr>
        <p:txBody>
          <a:bodyPr wrap="square" lIns="0" tIns="0" rIns="0" bIns="0">
            <a:spAutoFit/>
          </a:bodyPr>
          <a:lstStyle>
            <a:lvl1pPr marL="0" indent="0">
              <a:buNone/>
              <a:defRPr sz="3600" b="1">
                <a:solidFill>
                  <a:srgbClr val="0078D4"/>
                </a:solidFill>
              </a:defRPr>
            </a:lvl1pPr>
          </a:lstStyle>
          <a:p>
            <a:pPr lvl="0"/>
            <a:r>
              <a:rPr lang="en-GB"/>
              <a:t>Slide title</a:t>
            </a:r>
          </a:p>
        </p:txBody>
      </p:sp>
      <p:sp>
        <p:nvSpPr>
          <p:cNvPr id="8" name="Text Placeholder 7">
            <a:extLst>
              <a:ext uri="{FF2B5EF4-FFF2-40B4-BE49-F238E27FC236}">
                <a16:creationId xmlns:a16="http://schemas.microsoft.com/office/drawing/2014/main" id="{67A12113-3B99-4240-A379-207D1B3D55F0}"/>
              </a:ext>
            </a:extLst>
          </p:cNvPr>
          <p:cNvSpPr>
            <a:spLocks noGrp="1"/>
          </p:cNvSpPr>
          <p:nvPr>
            <p:ph type="body" sz="quarter" idx="11" hasCustomPrompt="1"/>
          </p:nvPr>
        </p:nvSpPr>
        <p:spPr>
          <a:xfrm>
            <a:off x="538163" y="1713601"/>
            <a:ext cx="11107736" cy="4002988"/>
          </a:xfrm>
        </p:spPr>
        <p:txBody>
          <a:bodyPr lIns="0" tIns="0" rIns="0" bIns="0">
            <a:normAutofit/>
          </a:bodyPr>
          <a:lstStyle>
            <a:lvl1pPr marL="0" indent="0">
              <a:buNone/>
              <a:defRPr sz="2200"/>
            </a:lvl1pPr>
          </a:lstStyle>
          <a:p>
            <a:pPr lvl="0"/>
            <a:r>
              <a:rPr lang="en-US"/>
              <a:t>Our mission is to empower every person and every </a:t>
            </a:r>
            <a:r>
              <a:rPr lang="en-GB" noProof="0"/>
              <a:t>organisation</a:t>
            </a:r>
            <a:r>
              <a:rPr lang="en-US"/>
              <a:t> on the planet to achieve more. We believe technology can and should be a force for good and that meaningful innovation can and will contribute to a brighter world in big and small ways.</a:t>
            </a:r>
          </a:p>
        </p:txBody>
      </p:sp>
      <p:sp>
        <p:nvSpPr>
          <p:cNvPr id="5" name="Text Placeholder 5">
            <a:extLst>
              <a:ext uri="{FF2B5EF4-FFF2-40B4-BE49-F238E27FC236}">
                <a16:creationId xmlns:a16="http://schemas.microsoft.com/office/drawing/2014/main" id="{0E34B3F9-47B0-4EC2-8340-1423BFA9C8DE}"/>
              </a:ext>
            </a:extLst>
          </p:cNvPr>
          <p:cNvSpPr>
            <a:spLocks noGrp="1"/>
          </p:cNvSpPr>
          <p:nvPr>
            <p:ph type="body" sz="quarter" idx="12" hasCustomPrompt="1"/>
          </p:nvPr>
        </p:nvSpPr>
        <p:spPr>
          <a:xfrm>
            <a:off x="542131" y="1227600"/>
            <a:ext cx="11107737" cy="304699"/>
          </a:xfrm>
        </p:spPr>
        <p:txBody>
          <a:bodyPr wrap="square" lIns="0" tIns="0" rIns="0" bIns="0">
            <a:spAutoFit/>
          </a:bodyPr>
          <a:lstStyle>
            <a:lvl1pPr marL="0" indent="0">
              <a:buNone/>
              <a:defRPr sz="2200" b="1">
                <a:solidFill>
                  <a:srgbClr val="525252"/>
                </a:solidFill>
              </a:defRPr>
            </a:lvl1pPr>
          </a:lstStyle>
          <a:p>
            <a:pPr lvl="0"/>
            <a:r>
              <a:rPr lang="en-GB"/>
              <a:t>Subtitle</a:t>
            </a:r>
          </a:p>
        </p:txBody>
      </p:sp>
    </p:spTree>
    <p:extLst>
      <p:ext uri="{BB962C8B-B14F-4D97-AF65-F5344CB8AC3E}">
        <p14:creationId xmlns:p14="http://schemas.microsoft.com/office/powerpoint/2010/main" val="3238741036"/>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Subtitl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B8A6641-1A8E-4013-A4C7-53C05607296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25899" y="6078822"/>
            <a:ext cx="1620000" cy="231491"/>
          </a:xfrm>
          <a:prstGeom prst="rect">
            <a:avLst/>
          </a:prstGeom>
        </p:spPr>
      </p:pic>
      <p:sp>
        <p:nvSpPr>
          <p:cNvPr id="6" name="Text Placeholder 5">
            <a:extLst>
              <a:ext uri="{FF2B5EF4-FFF2-40B4-BE49-F238E27FC236}">
                <a16:creationId xmlns:a16="http://schemas.microsoft.com/office/drawing/2014/main" id="{C0700FF8-C3FA-43B6-99EE-057A17FA5964}"/>
              </a:ext>
            </a:extLst>
          </p:cNvPr>
          <p:cNvSpPr>
            <a:spLocks noGrp="1"/>
          </p:cNvSpPr>
          <p:nvPr>
            <p:ph type="body" sz="quarter" idx="10" hasCustomPrompt="1"/>
          </p:nvPr>
        </p:nvSpPr>
        <p:spPr>
          <a:xfrm>
            <a:off x="538162" y="547687"/>
            <a:ext cx="11107738" cy="498598"/>
          </a:xfrm>
        </p:spPr>
        <p:txBody>
          <a:bodyPr wrap="square" lIns="0" tIns="0" rIns="0" bIns="0">
            <a:spAutoFit/>
          </a:bodyPr>
          <a:lstStyle>
            <a:lvl1pPr marL="0" indent="0">
              <a:buNone/>
              <a:defRPr sz="3600" b="1">
                <a:solidFill>
                  <a:srgbClr val="0078D4"/>
                </a:solidFill>
              </a:defRPr>
            </a:lvl1pPr>
          </a:lstStyle>
          <a:p>
            <a:pPr lvl="0"/>
            <a:r>
              <a:rPr lang="en-GB"/>
              <a:t>Slide title</a:t>
            </a:r>
          </a:p>
        </p:txBody>
      </p:sp>
      <p:sp>
        <p:nvSpPr>
          <p:cNvPr id="8" name="Text Placeholder 7">
            <a:extLst>
              <a:ext uri="{FF2B5EF4-FFF2-40B4-BE49-F238E27FC236}">
                <a16:creationId xmlns:a16="http://schemas.microsoft.com/office/drawing/2014/main" id="{67A12113-3B99-4240-A379-207D1B3D55F0}"/>
              </a:ext>
            </a:extLst>
          </p:cNvPr>
          <p:cNvSpPr>
            <a:spLocks noGrp="1"/>
          </p:cNvSpPr>
          <p:nvPr>
            <p:ph type="body" sz="quarter" idx="11" hasCustomPrompt="1"/>
          </p:nvPr>
        </p:nvSpPr>
        <p:spPr>
          <a:xfrm>
            <a:off x="538163" y="1713601"/>
            <a:ext cx="5284787" cy="4002988"/>
          </a:xfrm>
        </p:spPr>
        <p:txBody>
          <a:bodyPr lIns="0" tIns="0" rIns="0" bIns="0">
            <a:normAutofit/>
          </a:bodyPr>
          <a:lstStyle>
            <a:lvl1pPr marL="0" indent="0">
              <a:buNone/>
              <a:defRPr sz="2200"/>
            </a:lvl1pPr>
          </a:lstStyle>
          <a:p>
            <a:pPr lvl="0"/>
            <a:r>
              <a:rPr lang="en-US"/>
              <a:t>Our mission is to empower every person and every </a:t>
            </a:r>
            <a:r>
              <a:rPr lang="en-GB" noProof="0"/>
              <a:t>organisation</a:t>
            </a:r>
            <a:r>
              <a:rPr lang="en-US"/>
              <a:t> on the planet to achieve more. We believe technology can and should be a force for good and that meaningful innovation can and will contribute to a brighter world in big and small ways.</a:t>
            </a:r>
          </a:p>
        </p:txBody>
      </p:sp>
      <p:sp>
        <p:nvSpPr>
          <p:cNvPr id="7" name="Text Placeholder 5">
            <a:extLst>
              <a:ext uri="{FF2B5EF4-FFF2-40B4-BE49-F238E27FC236}">
                <a16:creationId xmlns:a16="http://schemas.microsoft.com/office/drawing/2014/main" id="{34FA8773-7976-46A0-ABA2-27AE38A96B5E}"/>
              </a:ext>
            </a:extLst>
          </p:cNvPr>
          <p:cNvSpPr>
            <a:spLocks noGrp="1"/>
          </p:cNvSpPr>
          <p:nvPr>
            <p:ph type="body" sz="quarter" idx="13" hasCustomPrompt="1"/>
          </p:nvPr>
        </p:nvSpPr>
        <p:spPr>
          <a:xfrm>
            <a:off x="542131" y="1227600"/>
            <a:ext cx="11107737" cy="304699"/>
          </a:xfrm>
        </p:spPr>
        <p:txBody>
          <a:bodyPr wrap="square" lIns="0" tIns="0" rIns="0" bIns="0">
            <a:spAutoFit/>
          </a:bodyPr>
          <a:lstStyle>
            <a:lvl1pPr marL="0" indent="0">
              <a:buNone/>
              <a:defRPr sz="2200" b="1">
                <a:solidFill>
                  <a:srgbClr val="525252"/>
                </a:solidFill>
              </a:defRPr>
            </a:lvl1pPr>
          </a:lstStyle>
          <a:p>
            <a:pPr lvl="0"/>
            <a:r>
              <a:rPr lang="en-GB"/>
              <a:t>Subtitle</a:t>
            </a:r>
          </a:p>
        </p:txBody>
      </p:sp>
      <p:sp>
        <p:nvSpPr>
          <p:cNvPr id="10" name="Text Placeholder 7">
            <a:extLst>
              <a:ext uri="{FF2B5EF4-FFF2-40B4-BE49-F238E27FC236}">
                <a16:creationId xmlns:a16="http://schemas.microsoft.com/office/drawing/2014/main" id="{03DD35A5-8D4D-4C71-A691-C14B3AB01B59}"/>
              </a:ext>
            </a:extLst>
          </p:cNvPr>
          <p:cNvSpPr>
            <a:spLocks noGrp="1"/>
          </p:cNvSpPr>
          <p:nvPr>
            <p:ph type="body" sz="quarter" idx="14" hasCustomPrompt="1"/>
          </p:nvPr>
        </p:nvSpPr>
        <p:spPr>
          <a:xfrm>
            <a:off x="6369052" y="1713600"/>
            <a:ext cx="5284787" cy="4002988"/>
          </a:xfrm>
        </p:spPr>
        <p:txBody>
          <a:bodyPr lIns="0" tIns="0" rIns="0" bIns="0">
            <a:normAutofit/>
          </a:bodyPr>
          <a:lstStyle>
            <a:lvl1pPr marL="0" indent="0">
              <a:buNone/>
              <a:defRPr sz="2200"/>
            </a:lvl1pPr>
          </a:lstStyle>
          <a:p>
            <a:pPr lvl="0"/>
            <a:r>
              <a:rPr lang="en-US"/>
              <a:t>Our mission is to empower every person and every </a:t>
            </a:r>
            <a:r>
              <a:rPr lang="en-GB" noProof="0"/>
              <a:t>organisation</a:t>
            </a:r>
            <a:r>
              <a:rPr lang="en-US"/>
              <a:t> on the planet to achieve more. We believe technology can and should be a force for good and that meaningful innovation can and will contribute to a brighter world in big and small ways.</a:t>
            </a:r>
          </a:p>
        </p:txBody>
      </p:sp>
    </p:spTree>
    <p:extLst>
      <p:ext uri="{BB962C8B-B14F-4D97-AF65-F5344CB8AC3E}">
        <p14:creationId xmlns:p14="http://schemas.microsoft.com/office/powerpoint/2010/main" val="264079312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hree Column (Subtitl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B8A6641-1A8E-4013-A4C7-53C05607296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25899" y="6078822"/>
            <a:ext cx="1620000" cy="231491"/>
          </a:xfrm>
          <a:prstGeom prst="rect">
            <a:avLst/>
          </a:prstGeom>
        </p:spPr>
      </p:pic>
      <p:sp>
        <p:nvSpPr>
          <p:cNvPr id="6" name="Text Placeholder 5">
            <a:extLst>
              <a:ext uri="{FF2B5EF4-FFF2-40B4-BE49-F238E27FC236}">
                <a16:creationId xmlns:a16="http://schemas.microsoft.com/office/drawing/2014/main" id="{C0700FF8-C3FA-43B6-99EE-057A17FA5964}"/>
              </a:ext>
            </a:extLst>
          </p:cNvPr>
          <p:cNvSpPr>
            <a:spLocks noGrp="1"/>
          </p:cNvSpPr>
          <p:nvPr>
            <p:ph type="body" sz="quarter" idx="10" hasCustomPrompt="1"/>
          </p:nvPr>
        </p:nvSpPr>
        <p:spPr>
          <a:xfrm>
            <a:off x="538162" y="547687"/>
            <a:ext cx="11107738" cy="498598"/>
          </a:xfrm>
        </p:spPr>
        <p:txBody>
          <a:bodyPr wrap="square" lIns="0" tIns="0" rIns="0" bIns="0">
            <a:spAutoFit/>
          </a:bodyPr>
          <a:lstStyle>
            <a:lvl1pPr marL="0" indent="0">
              <a:buNone/>
              <a:defRPr sz="3600" b="1">
                <a:solidFill>
                  <a:srgbClr val="0078D4"/>
                </a:solidFill>
              </a:defRPr>
            </a:lvl1pPr>
          </a:lstStyle>
          <a:p>
            <a:pPr lvl="0"/>
            <a:r>
              <a:rPr lang="en-GB"/>
              <a:t>Slide title</a:t>
            </a:r>
          </a:p>
        </p:txBody>
      </p:sp>
      <p:sp>
        <p:nvSpPr>
          <p:cNvPr id="8" name="Text Placeholder 7">
            <a:extLst>
              <a:ext uri="{FF2B5EF4-FFF2-40B4-BE49-F238E27FC236}">
                <a16:creationId xmlns:a16="http://schemas.microsoft.com/office/drawing/2014/main" id="{67A12113-3B99-4240-A379-207D1B3D55F0}"/>
              </a:ext>
            </a:extLst>
          </p:cNvPr>
          <p:cNvSpPr>
            <a:spLocks noGrp="1"/>
          </p:cNvSpPr>
          <p:nvPr>
            <p:ph type="body" sz="quarter" idx="11" hasCustomPrompt="1"/>
          </p:nvPr>
        </p:nvSpPr>
        <p:spPr>
          <a:xfrm>
            <a:off x="538161" y="1713601"/>
            <a:ext cx="3463200" cy="4002988"/>
          </a:xfrm>
        </p:spPr>
        <p:txBody>
          <a:bodyPr lIns="0" tIns="0" rIns="0" bIns="0">
            <a:normAutofit/>
          </a:bodyPr>
          <a:lstStyle>
            <a:lvl1pPr marL="0" indent="0">
              <a:buNone/>
              <a:defRPr sz="2200"/>
            </a:lvl1pPr>
          </a:lstStyle>
          <a:p>
            <a:pPr lvl="0"/>
            <a:r>
              <a:rPr lang="en-US"/>
              <a:t>Our mission is to empower every person and every </a:t>
            </a:r>
            <a:r>
              <a:rPr lang="en-GB" noProof="0"/>
              <a:t>organisation</a:t>
            </a:r>
            <a:r>
              <a:rPr lang="en-US"/>
              <a:t> on the planet to achieve more. We believe technology can and should be a force for good and that meaningful innovation can and will contribute to a brighter world in big and small ways.</a:t>
            </a:r>
          </a:p>
        </p:txBody>
      </p:sp>
      <p:sp>
        <p:nvSpPr>
          <p:cNvPr id="7" name="Text Placeholder 5">
            <a:extLst>
              <a:ext uri="{FF2B5EF4-FFF2-40B4-BE49-F238E27FC236}">
                <a16:creationId xmlns:a16="http://schemas.microsoft.com/office/drawing/2014/main" id="{79E1D01A-3697-48F3-9C45-1DFE05280735}"/>
              </a:ext>
            </a:extLst>
          </p:cNvPr>
          <p:cNvSpPr>
            <a:spLocks noGrp="1"/>
          </p:cNvSpPr>
          <p:nvPr>
            <p:ph type="body" sz="quarter" idx="14" hasCustomPrompt="1"/>
          </p:nvPr>
        </p:nvSpPr>
        <p:spPr>
          <a:xfrm>
            <a:off x="542131" y="1227600"/>
            <a:ext cx="11107737" cy="304699"/>
          </a:xfrm>
        </p:spPr>
        <p:txBody>
          <a:bodyPr wrap="square" lIns="0" tIns="0" rIns="0" bIns="0">
            <a:spAutoFit/>
          </a:bodyPr>
          <a:lstStyle>
            <a:lvl1pPr marL="0" indent="0">
              <a:buNone/>
              <a:defRPr sz="2200" b="1">
                <a:solidFill>
                  <a:srgbClr val="525252"/>
                </a:solidFill>
              </a:defRPr>
            </a:lvl1pPr>
          </a:lstStyle>
          <a:p>
            <a:pPr lvl="0"/>
            <a:r>
              <a:rPr lang="en-GB"/>
              <a:t>Subtitle</a:t>
            </a:r>
          </a:p>
        </p:txBody>
      </p:sp>
      <p:sp>
        <p:nvSpPr>
          <p:cNvPr id="10" name="Text Placeholder 7">
            <a:extLst>
              <a:ext uri="{FF2B5EF4-FFF2-40B4-BE49-F238E27FC236}">
                <a16:creationId xmlns:a16="http://schemas.microsoft.com/office/drawing/2014/main" id="{18704738-B328-4338-B549-6F463C300426}"/>
              </a:ext>
            </a:extLst>
          </p:cNvPr>
          <p:cNvSpPr>
            <a:spLocks noGrp="1"/>
          </p:cNvSpPr>
          <p:nvPr>
            <p:ph type="body" sz="quarter" idx="15" hasCustomPrompt="1"/>
          </p:nvPr>
        </p:nvSpPr>
        <p:spPr>
          <a:xfrm>
            <a:off x="4360000" y="1713601"/>
            <a:ext cx="3463200" cy="4002988"/>
          </a:xfrm>
        </p:spPr>
        <p:txBody>
          <a:bodyPr lIns="0" tIns="0" rIns="0" bIns="0">
            <a:normAutofit/>
          </a:bodyPr>
          <a:lstStyle>
            <a:lvl1pPr marL="0" indent="0">
              <a:buNone/>
              <a:defRPr sz="2200"/>
            </a:lvl1pPr>
          </a:lstStyle>
          <a:p>
            <a:pPr lvl="0"/>
            <a:r>
              <a:rPr lang="en-US"/>
              <a:t>Our mission is to empower every person and every </a:t>
            </a:r>
            <a:r>
              <a:rPr lang="en-GB" noProof="0"/>
              <a:t>organisation</a:t>
            </a:r>
            <a:r>
              <a:rPr lang="en-US"/>
              <a:t> on the planet to achieve more. We believe technology can and should be a force for good and that meaningful innovation can and will contribute to a brighter world in big and small ways.</a:t>
            </a:r>
          </a:p>
        </p:txBody>
      </p:sp>
      <p:sp>
        <p:nvSpPr>
          <p:cNvPr id="13" name="Text Placeholder 7">
            <a:extLst>
              <a:ext uri="{FF2B5EF4-FFF2-40B4-BE49-F238E27FC236}">
                <a16:creationId xmlns:a16="http://schemas.microsoft.com/office/drawing/2014/main" id="{FFDED873-A55D-4527-AF29-004576115AF9}"/>
              </a:ext>
            </a:extLst>
          </p:cNvPr>
          <p:cNvSpPr>
            <a:spLocks noGrp="1"/>
          </p:cNvSpPr>
          <p:nvPr>
            <p:ph type="body" sz="quarter" idx="16" hasCustomPrompt="1"/>
          </p:nvPr>
        </p:nvSpPr>
        <p:spPr>
          <a:xfrm>
            <a:off x="8181839" y="1713601"/>
            <a:ext cx="3463200" cy="4002988"/>
          </a:xfrm>
        </p:spPr>
        <p:txBody>
          <a:bodyPr lIns="0" tIns="0" rIns="0" bIns="0">
            <a:normAutofit/>
          </a:bodyPr>
          <a:lstStyle>
            <a:lvl1pPr marL="0" indent="0">
              <a:buNone/>
              <a:defRPr sz="2200"/>
            </a:lvl1pPr>
          </a:lstStyle>
          <a:p>
            <a:pPr lvl="0"/>
            <a:r>
              <a:rPr lang="en-US"/>
              <a:t>Our mission is to empower every person and every </a:t>
            </a:r>
            <a:r>
              <a:rPr lang="en-GB" noProof="0"/>
              <a:t>organisation</a:t>
            </a:r>
            <a:r>
              <a:rPr lang="en-US"/>
              <a:t> on the planet to achieve more. We believe technology can and should be a force for good and that meaningful innovation can and will contribute to a brighter world in big and small ways.</a:t>
            </a:r>
          </a:p>
        </p:txBody>
      </p:sp>
    </p:spTree>
    <p:extLst>
      <p:ext uri="{BB962C8B-B14F-4D97-AF65-F5344CB8AC3E}">
        <p14:creationId xmlns:p14="http://schemas.microsoft.com/office/powerpoint/2010/main" val="3345464984"/>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hoto (Subtitl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0700FF8-C3FA-43B6-99EE-057A17FA5964}"/>
              </a:ext>
            </a:extLst>
          </p:cNvPr>
          <p:cNvSpPr>
            <a:spLocks noGrp="1"/>
          </p:cNvSpPr>
          <p:nvPr>
            <p:ph type="body" sz="quarter" idx="10" hasCustomPrompt="1"/>
          </p:nvPr>
        </p:nvSpPr>
        <p:spPr>
          <a:xfrm>
            <a:off x="538162" y="547687"/>
            <a:ext cx="5284788" cy="498598"/>
          </a:xfrm>
        </p:spPr>
        <p:txBody>
          <a:bodyPr wrap="square" lIns="0" tIns="0" rIns="0" bIns="0">
            <a:spAutoFit/>
          </a:bodyPr>
          <a:lstStyle>
            <a:lvl1pPr marL="0" indent="0">
              <a:buNone/>
              <a:defRPr sz="3600" b="1">
                <a:solidFill>
                  <a:srgbClr val="0078D4"/>
                </a:solidFill>
              </a:defRPr>
            </a:lvl1pPr>
          </a:lstStyle>
          <a:p>
            <a:pPr lvl="0"/>
            <a:r>
              <a:rPr lang="en-GB"/>
              <a:t>Slide title</a:t>
            </a:r>
          </a:p>
        </p:txBody>
      </p:sp>
      <p:sp>
        <p:nvSpPr>
          <p:cNvPr id="8" name="Text Placeholder 7">
            <a:extLst>
              <a:ext uri="{FF2B5EF4-FFF2-40B4-BE49-F238E27FC236}">
                <a16:creationId xmlns:a16="http://schemas.microsoft.com/office/drawing/2014/main" id="{67A12113-3B99-4240-A379-207D1B3D55F0}"/>
              </a:ext>
            </a:extLst>
          </p:cNvPr>
          <p:cNvSpPr>
            <a:spLocks noGrp="1"/>
          </p:cNvSpPr>
          <p:nvPr>
            <p:ph type="body" sz="quarter" idx="11" hasCustomPrompt="1"/>
          </p:nvPr>
        </p:nvSpPr>
        <p:spPr>
          <a:xfrm>
            <a:off x="538163" y="1713600"/>
            <a:ext cx="5284787" cy="4596713"/>
          </a:xfrm>
        </p:spPr>
        <p:txBody>
          <a:bodyPr lIns="0" tIns="0" rIns="0" bIns="0">
            <a:normAutofit/>
          </a:bodyPr>
          <a:lstStyle>
            <a:lvl1pPr marL="0" indent="0">
              <a:buNone/>
              <a:defRPr sz="2200"/>
            </a:lvl1pPr>
          </a:lstStyle>
          <a:p>
            <a:pPr lvl="0"/>
            <a:r>
              <a:rPr lang="en-US"/>
              <a:t>Our mission is to empower every person and every </a:t>
            </a:r>
            <a:r>
              <a:rPr lang="en-GB" noProof="0"/>
              <a:t>organisation</a:t>
            </a:r>
            <a:r>
              <a:rPr lang="en-US"/>
              <a:t> on the planet to achieve more. We believe technology can and should be a force for good and that meaningful innovation can and will contribute to a brighter world in big and small ways.</a:t>
            </a:r>
          </a:p>
        </p:txBody>
      </p:sp>
      <p:sp>
        <p:nvSpPr>
          <p:cNvPr id="5" name="Text Placeholder 5">
            <a:extLst>
              <a:ext uri="{FF2B5EF4-FFF2-40B4-BE49-F238E27FC236}">
                <a16:creationId xmlns:a16="http://schemas.microsoft.com/office/drawing/2014/main" id="{0E34B3F9-47B0-4EC2-8340-1423BFA9C8DE}"/>
              </a:ext>
            </a:extLst>
          </p:cNvPr>
          <p:cNvSpPr>
            <a:spLocks noGrp="1"/>
          </p:cNvSpPr>
          <p:nvPr>
            <p:ph type="body" sz="quarter" idx="12" hasCustomPrompt="1"/>
          </p:nvPr>
        </p:nvSpPr>
        <p:spPr>
          <a:xfrm>
            <a:off x="542131" y="1227600"/>
            <a:ext cx="5280819" cy="304699"/>
          </a:xfrm>
        </p:spPr>
        <p:txBody>
          <a:bodyPr wrap="square" lIns="0" tIns="0" rIns="0" bIns="0">
            <a:spAutoFit/>
          </a:bodyPr>
          <a:lstStyle>
            <a:lvl1pPr marL="0" indent="0">
              <a:buNone/>
              <a:defRPr sz="2200" b="1">
                <a:solidFill>
                  <a:srgbClr val="525252"/>
                </a:solidFill>
              </a:defRPr>
            </a:lvl1pPr>
          </a:lstStyle>
          <a:p>
            <a:pPr lvl="0"/>
            <a:r>
              <a:rPr lang="en-GB"/>
              <a:t>Subtitle</a:t>
            </a:r>
          </a:p>
        </p:txBody>
      </p:sp>
      <p:sp>
        <p:nvSpPr>
          <p:cNvPr id="7" name="Picture Placeholder 2">
            <a:extLst>
              <a:ext uri="{FF2B5EF4-FFF2-40B4-BE49-F238E27FC236}">
                <a16:creationId xmlns:a16="http://schemas.microsoft.com/office/drawing/2014/main" id="{A0B60FAD-F4DA-4A90-8B57-C6B13B1CDA63}"/>
              </a:ext>
            </a:extLst>
          </p:cNvPr>
          <p:cNvSpPr>
            <a:spLocks noGrp="1"/>
          </p:cNvSpPr>
          <p:nvPr>
            <p:ph type="pic" sz="quarter" idx="13"/>
          </p:nvPr>
        </p:nvSpPr>
        <p:spPr>
          <a:xfrm>
            <a:off x="6365874" y="0"/>
            <a:ext cx="5826125" cy="6858000"/>
          </a:xfrm>
          <a:solidFill>
            <a:srgbClr val="000000"/>
          </a:solidFill>
        </p:spPr>
        <p:txBody>
          <a:bodyPr/>
          <a:lstStyle>
            <a:lvl1pPr marL="0" indent="0">
              <a:buNone/>
              <a:defRPr/>
            </a:lvl1pPr>
          </a:lstStyle>
          <a:p>
            <a:endParaRPr lang="en-GB"/>
          </a:p>
        </p:txBody>
      </p:sp>
    </p:spTree>
    <p:extLst>
      <p:ext uri="{BB962C8B-B14F-4D97-AF65-F5344CB8AC3E}">
        <p14:creationId xmlns:p14="http://schemas.microsoft.com/office/powerpoint/2010/main" val="187530163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9016773"/>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683442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50593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4658142"/>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type="secHead">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5D08C2-2615-4B61-A7D0-7092C233E4DE}"/>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endParaRPr lang="en-GB"/>
          </a:p>
        </p:txBody>
      </p:sp>
      <p:sp>
        <p:nvSpPr>
          <p:cNvPr id="3" name="Textplatzhalter 2">
            <a:extLst>
              <a:ext uri="{FF2B5EF4-FFF2-40B4-BE49-F238E27FC236}">
                <a16:creationId xmlns:a16="http://schemas.microsoft.com/office/drawing/2014/main" id="{3B095ACD-B33E-460C-B0DD-7BE15A9EDE0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2A3BEB39-195F-49B4-A59A-129866DFCF55}"/>
              </a:ext>
            </a:extLst>
          </p:cNvPr>
          <p:cNvSpPr>
            <a:spLocks noGrp="1"/>
          </p:cNvSpPr>
          <p:nvPr>
            <p:ph type="dt" sz="half" idx="10"/>
          </p:nvPr>
        </p:nvSpPr>
        <p:spPr/>
        <p:txBody>
          <a:bodyPr/>
          <a:lstStyle/>
          <a:p>
            <a:fld id="{D7A28DF6-53EC-4CEF-A2EC-2DC687E62EB7}" type="datetimeFigureOut">
              <a:rPr lang="en-GB" smtClean="0"/>
              <a:t>25/05/2021</a:t>
            </a:fld>
            <a:endParaRPr lang="en-GB"/>
          </a:p>
        </p:txBody>
      </p:sp>
      <p:sp>
        <p:nvSpPr>
          <p:cNvPr id="5" name="Fußzeilenplatzhalter 4">
            <a:extLst>
              <a:ext uri="{FF2B5EF4-FFF2-40B4-BE49-F238E27FC236}">
                <a16:creationId xmlns:a16="http://schemas.microsoft.com/office/drawing/2014/main" id="{4081583F-AD33-4F1B-8790-2535571FBC93}"/>
              </a:ext>
            </a:extLst>
          </p:cNvPr>
          <p:cNvSpPr>
            <a:spLocks noGrp="1"/>
          </p:cNvSpPr>
          <p:nvPr>
            <p:ph type="ftr" sz="quarter" idx="11"/>
          </p:nvPr>
        </p:nvSpPr>
        <p:spPr/>
        <p:txBody>
          <a:bodyPr/>
          <a:lstStyle/>
          <a:p>
            <a:endParaRPr lang="en-GB"/>
          </a:p>
        </p:txBody>
      </p:sp>
      <p:sp>
        <p:nvSpPr>
          <p:cNvPr id="6" name="Foliennummernplatzhalter 5">
            <a:extLst>
              <a:ext uri="{FF2B5EF4-FFF2-40B4-BE49-F238E27FC236}">
                <a16:creationId xmlns:a16="http://schemas.microsoft.com/office/drawing/2014/main" id="{F6783F0A-93A3-455C-863B-F53283F34025}"/>
              </a:ext>
            </a:extLst>
          </p:cNvPr>
          <p:cNvSpPr>
            <a:spLocks noGrp="1"/>
          </p:cNvSpPr>
          <p:nvPr>
            <p:ph type="sldNum" sz="quarter" idx="12"/>
          </p:nvPr>
        </p:nvSpPr>
        <p:spPr/>
        <p:txBody>
          <a:bodyPr/>
          <a:lstStyle/>
          <a:p>
            <a:fld id="{3203D403-6945-4126-AA3D-8EA87033EA4B}" type="slidenum">
              <a:rPr lang="en-GB" smtClean="0"/>
              <a:t>‹#›</a:t>
            </a:fld>
            <a:endParaRPr lang="en-GB"/>
          </a:p>
        </p:txBody>
      </p:sp>
    </p:spTree>
    <p:extLst>
      <p:ext uri="{BB962C8B-B14F-4D97-AF65-F5344CB8AC3E}">
        <p14:creationId xmlns:p14="http://schemas.microsoft.com/office/powerpoint/2010/main" val="12680365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BFB9C4-0A97-41AC-9E63-D17CF602260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F6BC83B2-A7DF-4163-BE01-4485DD11E1AC}"/>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FFE67A3-AF7D-45BC-9C6E-F5864DFBB8C2}"/>
              </a:ext>
            </a:extLst>
          </p:cNvPr>
          <p:cNvSpPr>
            <a:spLocks noGrp="1"/>
          </p:cNvSpPr>
          <p:nvPr>
            <p:ph type="dt" sz="half" idx="10"/>
          </p:nvPr>
        </p:nvSpPr>
        <p:spPr/>
        <p:txBody>
          <a:bodyPr/>
          <a:lstStyle/>
          <a:p>
            <a:fld id="{F57533FA-4E36-41A4-900E-A86322AE6242}" type="datetimeFigureOut">
              <a:rPr lang="en-GB" smtClean="0"/>
              <a:t>25/05/2021</a:t>
            </a:fld>
            <a:endParaRPr lang="en-GB"/>
          </a:p>
        </p:txBody>
      </p:sp>
      <p:sp>
        <p:nvSpPr>
          <p:cNvPr id="5" name="Footer Placeholder 4">
            <a:extLst>
              <a:ext uri="{FF2B5EF4-FFF2-40B4-BE49-F238E27FC236}">
                <a16:creationId xmlns:a16="http://schemas.microsoft.com/office/drawing/2014/main" id="{46B5A584-6F45-47EA-9414-0034236B566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3132716-172A-4C10-9A49-DFF3D41E3514}"/>
              </a:ext>
            </a:extLst>
          </p:cNvPr>
          <p:cNvSpPr>
            <a:spLocks noGrp="1"/>
          </p:cNvSpPr>
          <p:nvPr>
            <p:ph type="sldNum" sz="quarter" idx="12"/>
          </p:nvPr>
        </p:nvSpPr>
        <p:spPr/>
        <p:txBody>
          <a:bodyPr/>
          <a:lstStyle/>
          <a:p>
            <a:fld id="{9518AE20-329B-43EC-AEEE-651E0F6C168C}" type="slidenum">
              <a:rPr lang="en-GB" smtClean="0"/>
              <a:t>‹#›</a:t>
            </a:fld>
            <a:endParaRPr lang="en-GB"/>
          </a:p>
        </p:txBody>
      </p:sp>
    </p:spTree>
    <p:extLst>
      <p:ext uri="{BB962C8B-B14F-4D97-AF65-F5344CB8AC3E}">
        <p14:creationId xmlns:p14="http://schemas.microsoft.com/office/powerpoint/2010/main" val="245525357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bg1">
            <a:lumMod val="95000"/>
          </a:schemeClr>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00000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rgbClr val="000000"/>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048BF6F0-39E7-41BE-852C-3E0F3448DE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24137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Title Slide wiith photo_white text">
    <p:bg>
      <p:bgRef idx="1001">
        <a:schemeClr val="bg2"/>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72C02A9-6C13-4DF5-BA53-7593DCCE045E}"/>
              </a:ext>
            </a:extLst>
          </p:cNvPr>
          <p:cNvSpPr/>
          <p:nvPr userDrawn="1"/>
        </p:nvSpPr>
        <p:spPr bwMode="auto">
          <a:xfrm>
            <a:off x="-1" y="0"/>
            <a:ext cx="10210801" cy="6858000"/>
          </a:xfrm>
          <a:prstGeom prst="rect">
            <a:avLst/>
          </a:prstGeom>
          <a:gradFill flip="none" rotWithShape="1">
            <a:gsLst>
              <a:gs pos="0">
                <a:srgbClr val="000000">
                  <a:alpha val="0"/>
                </a:srgbClr>
              </a:gs>
              <a:gs pos="100000">
                <a:srgbClr val="000000">
                  <a:alpha val="66000"/>
                </a:srgb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white">
          <a:xfrm>
            <a:off x="584635" y="2425780"/>
            <a:ext cx="5083629" cy="1107996"/>
          </a:xfrm>
          <a:noFill/>
        </p:spPr>
        <p:txBody>
          <a:bodyPr wrap="square" lIns="0" tIns="0" rIns="0" bIns="0" anchor="b" anchorCtr="0">
            <a:spAutoFit/>
          </a:bodyPr>
          <a:lstStyle>
            <a:lvl1pPr>
              <a:defRPr sz="3600" spc="-50"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0"/>
            <a:ext cx="5084064" cy="246221"/>
          </a:xfrm>
          <a:noFill/>
        </p:spPr>
        <p:txBody>
          <a:bodyPr wrap="square" lIns="0" tIns="0" rIns="0" bIns="0">
            <a:spAutoFit/>
          </a:bodyPr>
          <a:lstStyle>
            <a:lvl1pPr marL="0" indent="0">
              <a:spcBef>
                <a:spcPts val="0"/>
              </a:spcBef>
              <a:buNone/>
              <a:defRPr sz="16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19A64866-81C9-F346-A699-D5FE5F62973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283297" y="281709"/>
            <a:ext cx="2440148" cy="902854"/>
          </a:xfrm>
          <a:prstGeom prst="rect">
            <a:avLst/>
          </a:prstGeom>
        </p:spPr>
      </p:pic>
    </p:spTree>
    <p:extLst>
      <p:ext uri="{BB962C8B-B14F-4D97-AF65-F5344CB8AC3E}">
        <p14:creationId xmlns:p14="http://schemas.microsoft.com/office/powerpoint/2010/main" val="42148859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98764"/>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6390" y="1434370"/>
            <a:ext cx="11018520" cy="1083374"/>
          </a:xfrm>
        </p:spPr>
        <p:txBody>
          <a:bodyPr wrap="square">
            <a:spAutoFit/>
          </a:bodyPr>
          <a:lstStyle>
            <a:lvl1pPr marL="0" indent="0">
              <a:buNone/>
              <a:defRPr sz="2000" b="0" i="0">
                <a:solidFill>
                  <a:srgbClr val="000000"/>
                </a:solidFill>
                <a:latin typeface="+mn-lt"/>
                <a:cs typeface="Segoe UI" panose="020B0502040204020203" pitchFamily="34" charset="0"/>
              </a:defRPr>
            </a:lvl1pPr>
            <a:lvl2pPr marL="228600" indent="0">
              <a:buNone/>
              <a:defRPr sz="1600">
                <a:solidFill>
                  <a:srgbClr val="000000"/>
                </a:solidFill>
              </a:defRPr>
            </a:lvl2pPr>
            <a:lvl3pPr marL="457200" indent="0">
              <a:buNone/>
              <a:defRPr sz="1400">
                <a:solidFill>
                  <a:srgbClr val="000000"/>
                </a:solidFill>
              </a:defRPr>
            </a:lvl3pPr>
            <a:lvl4pPr marL="685800" indent="0">
              <a:buNone/>
              <a:defRPr sz="1200">
                <a:solidFill>
                  <a:srgbClr val="000000"/>
                </a:solidFill>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10">
            <a:extLst>
              <a:ext uri="{FF2B5EF4-FFF2-40B4-BE49-F238E27FC236}">
                <a16:creationId xmlns:a16="http://schemas.microsoft.com/office/drawing/2014/main" id="{37A1A54A-CF38-9947-A8FB-BBD41DE025C0}"/>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12742472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509155"/>
            <a:ext cx="11018520" cy="430887"/>
          </a:xfrm>
        </p:spPr>
        <p:txBody>
          <a:bodyPr/>
          <a:lstStyle>
            <a:lvl1pPr>
              <a:defRPr sz="28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584200" y="1435497"/>
            <a:ext cx="11018520" cy="1268039"/>
          </a:xfrm>
        </p:spPr>
        <p:txBody>
          <a:bodyPr/>
          <a:lstStyle>
            <a:lvl1pPr>
              <a:defRPr sz="2000">
                <a:solidFill>
                  <a:srgbClr val="000000"/>
                </a:solidFill>
                <a:latin typeface="+mn-lt"/>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0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DD1BEEC7-5874-1E48-8B60-B1E5D9779C29}"/>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117671541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98764"/>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268039"/>
          </a:xfrm>
        </p:spPr>
        <p:txBody>
          <a:bodyPr wrap="square">
            <a:spAutoFit/>
          </a:bodyPr>
          <a:lstStyle>
            <a:lvl1pPr marL="0" indent="0">
              <a:spcBef>
                <a:spcPts val="1224"/>
              </a:spcBef>
              <a:buClr>
                <a:schemeClr val="tx1"/>
              </a:buClr>
              <a:buFont typeface="Wingdings" panose="05000000000000000000" pitchFamily="2" charset="2"/>
              <a:buNone/>
              <a:defRPr sz="2000" b="0">
                <a:solidFill>
                  <a:srgbClr val="000000"/>
                </a:solidFill>
                <a:latin typeface="+mn-lt"/>
                <a:cs typeface="Segoe UI Semilight" panose="020B0402040204020203" pitchFamily="34" charset="0"/>
              </a:defRPr>
            </a:lvl1pPr>
            <a:lvl2pPr marL="255588" indent="0">
              <a:buFont typeface="Wingdings" panose="05000000000000000000" pitchFamily="2" charset="2"/>
              <a:buNone/>
              <a:defRPr sz="1600" b="0">
                <a:solidFill>
                  <a:srgbClr val="000000"/>
                </a:solidFill>
              </a:defRPr>
            </a:lvl2pPr>
            <a:lvl3pPr marL="450850" indent="0">
              <a:buFont typeface="Wingdings" panose="05000000000000000000" pitchFamily="2" charset="2"/>
              <a:buNone/>
              <a:tabLst/>
              <a:defRPr sz="1400" b="0">
                <a:solidFill>
                  <a:srgbClr val="000000"/>
                </a:solidFill>
              </a:defRPr>
            </a:lvl3pPr>
            <a:lvl4pPr marL="652462" indent="0">
              <a:buFont typeface="Wingdings" panose="05000000000000000000" pitchFamily="2" charset="2"/>
              <a:buNone/>
              <a:defRPr sz="1200" b="0">
                <a:solidFill>
                  <a:srgbClr val="000000"/>
                </a:solidFill>
              </a:defRPr>
            </a:lvl4pPr>
            <a:lvl5pPr marL="854075"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268039"/>
          </a:xfrm>
        </p:spPr>
        <p:txBody>
          <a:bodyPr wrap="square">
            <a:spAutoFit/>
          </a:bodyPr>
          <a:lstStyle>
            <a:lvl1pPr marL="0" indent="0">
              <a:spcBef>
                <a:spcPts val="1224"/>
              </a:spcBef>
              <a:buClr>
                <a:schemeClr val="tx1"/>
              </a:buClr>
              <a:buFont typeface="Wingdings" panose="05000000000000000000" pitchFamily="2" charset="2"/>
              <a:buNone/>
              <a:defRPr sz="2000" b="0">
                <a:solidFill>
                  <a:srgbClr val="000000"/>
                </a:solidFill>
                <a:latin typeface="+mn-lt"/>
                <a:cs typeface="Segoe UI Semilight" panose="020B0402040204020203" pitchFamily="34" charset="0"/>
              </a:defRPr>
            </a:lvl1pPr>
            <a:lvl2pPr marL="255588" indent="0">
              <a:buFont typeface="Wingdings" panose="05000000000000000000" pitchFamily="2" charset="2"/>
              <a:buNone/>
              <a:defRPr sz="1600" b="0">
                <a:solidFill>
                  <a:srgbClr val="000000"/>
                </a:solidFill>
              </a:defRPr>
            </a:lvl2pPr>
            <a:lvl3pPr marL="450850" indent="0">
              <a:buFont typeface="Wingdings" panose="05000000000000000000" pitchFamily="2" charset="2"/>
              <a:buNone/>
              <a:tabLst/>
              <a:defRPr sz="1400" b="0">
                <a:solidFill>
                  <a:srgbClr val="000000"/>
                </a:solidFill>
              </a:defRPr>
            </a:lvl3pPr>
            <a:lvl4pPr marL="652462" indent="0">
              <a:buFont typeface="Wingdings" panose="05000000000000000000" pitchFamily="2" charset="2"/>
              <a:buNone/>
              <a:defRPr sz="1200" b="0">
                <a:solidFill>
                  <a:srgbClr val="000000"/>
                </a:solidFill>
              </a:defRPr>
            </a:lvl4pPr>
            <a:lvl5pPr marL="854075" indent="0">
              <a:buFont typeface="Wingdings" panose="05000000000000000000" pitchFamily="2" charset="2"/>
              <a:buNone/>
              <a:tabLst/>
              <a:defRPr sz="1000" b="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22BDE9B7-BF0F-DF45-BCD0-D6165D547D13}"/>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26395615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theme" Target="../theme/theme3.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19" Type="http://schemas.openxmlformats.org/officeDocument/2006/relationships/image" Target="../media/image7.png"/><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slideLayout" Target="../slideLayouts/slideLayout75.xml"/><Relationship Id="rId3" Type="http://schemas.openxmlformats.org/officeDocument/2006/relationships/slideLayout" Target="../slideLayouts/slideLayout52.xml"/><Relationship Id="rId21" Type="http://schemas.openxmlformats.org/officeDocument/2006/relationships/slideLayout" Target="../slideLayouts/slideLayout70.xml"/><Relationship Id="rId34" Type="http://schemas.openxmlformats.org/officeDocument/2006/relationships/image" Target="../media/image8.emf"/><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slideLayout" Target="../slideLayouts/slideLayout74.xml"/><Relationship Id="rId33" Type="http://schemas.openxmlformats.org/officeDocument/2006/relationships/theme" Target="../theme/theme4.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29" Type="http://schemas.openxmlformats.org/officeDocument/2006/relationships/slideLayout" Target="../slideLayouts/slideLayout78.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32" Type="http://schemas.openxmlformats.org/officeDocument/2006/relationships/slideLayout" Target="../slideLayouts/slideLayout81.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slideLayout" Target="../slideLayouts/slideLayout77.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31" Type="http://schemas.openxmlformats.org/officeDocument/2006/relationships/slideLayout" Target="../slideLayouts/slideLayout80.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slideLayout" Target="../slideLayouts/slideLayout76.xml"/><Relationship Id="rId30" Type="http://schemas.openxmlformats.org/officeDocument/2006/relationships/slideLayout" Target="../slideLayouts/slideLayout79.xml"/><Relationship Id="rId8" Type="http://schemas.openxmlformats.org/officeDocument/2006/relationships/slideLayout" Target="../slideLayouts/slideLayout5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5" Type="http://schemas.openxmlformats.org/officeDocument/2006/relationships/image" Target="../media/image17.png"/><Relationship Id="rId10" Type="http://schemas.openxmlformats.org/officeDocument/2006/relationships/slideLayout" Target="../slideLayouts/slideLayout91.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07.xml"/><Relationship Id="rId18" Type="http://schemas.openxmlformats.org/officeDocument/2006/relationships/slideLayout" Target="../slideLayouts/slideLayout112.xml"/><Relationship Id="rId26" Type="http://schemas.openxmlformats.org/officeDocument/2006/relationships/slideLayout" Target="../slideLayouts/slideLayout120.xml"/><Relationship Id="rId39" Type="http://schemas.openxmlformats.org/officeDocument/2006/relationships/slideLayout" Target="../slideLayouts/slideLayout133.xml"/><Relationship Id="rId21" Type="http://schemas.openxmlformats.org/officeDocument/2006/relationships/slideLayout" Target="../slideLayouts/slideLayout115.xml"/><Relationship Id="rId34" Type="http://schemas.openxmlformats.org/officeDocument/2006/relationships/slideLayout" Target="../slideLayouts/slideLayout128.xml"/><Relationship Id="rId42" Type="http://schemas.openxmlformats.org/officeDocument/2006/relationships/slideLayout" Target="../slideLayouts/slideLayout136.xml"/><Relationship Id="rId7" Type="http://schemas.openxmlformats.org/officeDocument/2006/relationships/slideLayout" Target="../slideLayouts/slideLayout101.xml"/><Relationship Id="rId2" Type="http://schemas.openxmlformats.org/officeDocument/2006/relationships/slideLayout" Target="../slideLayouts/slideLayout96.xml"/><Relationship Id="rId16" Type="http://schemas.openxmlformats.org/officeDocument/2006/relationships/slideLayout" Target="../slideLayouts/slideLayout110.xml"/><Relationship Id="rId29" Type="http://schemas.openxmlformats.org/officeDocument/2006/relationships/slideLayout" Target="../slideLayouts/slideLayout123.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24" Type="http://schemas.openxmlformats.org/officeDocument/2006/relationships/slideLayout" Target="../slideLayouts/slideLayout118.xml"/><Relationship Id="rId32" Type="http://schemas.openxmlformats.org/officeDocument/2006/relationships/slideLayout" Target="../slideLayouts/slideLayout126.xml"/><Relationship Id="rId37" Type="http://schemas.openxmlformats.org/officeDocument/2006/relationships/slideLayout" Target="../slideLayouts/slideLayout131.xml"/><Relationship Id="rId40" Type="http://schemas.openxmlformats.org/officeDocument/2006/relationships/slideLayout" Target="../slideLayouts/slideLayout134.xml"/><Relationship Id="rId45" Type="http://schemas.openxmlformats.org/officeDocument/2006/relationships/image" Target="../media/image20.emf"/><Relationship Id="rId5" Type="http://schemas.openxmlformats.org/officeDocument/2006/relationships/slideLayout" Target="../slideLayouts/slideLayout99.xml"/><Relationship Id="rId15" Type="http://schemas.openxmlformats.org/officeDocument/2006/relationships/slideLayout" Target="../slideLayouts/slideLayout109.xml"/><Relationship Id="rId23" Type="http://schemas.openxmlformats.org/officeDocument/2006/relationships/slideLayout" Target="../slideLayouts/slideLayout117.xml"/><Relationship Id="rId28" Type="http://schemas.openxmlformats.org/officeDocument/2006/relationships/slideLayout" Target="../slideLayouts/slideLayout122.xml"/><Relationship Id="rId36" Type="http://schemas.openxmlformats.org/officeDocument/2006/relationships/slideLayout" Target="../slideLayouts/slideLayout130.xml"/><Relationship Id="rId10" Type="http://schemas.openxmlformats.org/officeDocument/2006/relationships/slideLayout" Target="../slideLayouts/slideLayout104.xml"/><Relationship Id="rId19" Type="http://schemas.openxmlformats.org/officeDocument/2006/relationships/slideLayout" Target="../slideLayouts/slideLayout113.xml"/><Relationship Id="rId31" Type="http://schemas.openxmlformats.org/officeDocument/2006/relationships/slideLayout" Target="../slideLayouts/slideLayout125.xml"/><Relationship Id="rId44" Type="http://schemas.openxmlformats.org/officeDocument/2006/relationships/theme" Target="../theme/theme6.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slideLayout" Target="../slideLayouts/slideLayout108.xml"/><Relationship Id="rId22" Type="http://schemas.openxmlformats.org/officeDocument/2006/relationships/slideLayout" Target="../slideLayouts/slideLayout116.xml"/><Relationship Id="rId27" Type="http://schemas.openxmlformats.org/officeDocument/2006/relationships/slideLayout" Target="../slideLayouts/slideLayout121.xml"/><Relationship Id="rId30" Type="http://schemas.openxmlformats.org/officeDocument/2006/relationships/slideLayout" Target="../slideLayouts/slideLayout124.xml"/><Relationship Id="rId35" Type="http://schemas.openxmlformats.org/officeDocument/2006/relationships/slideLayout" Target="../slideLayouts/slideLayout129.xml"/><Relationship Id="rId43" Type="http://schemas.openxmlformats.org/officeDocument/2006/relationships/slideLayout" Target="../slideLayouts/slideLayout137.xml"/><Relationship Id="rId8" Type="http://schemas.openxmlformats.org/officeDocument/2006/relationships/slideLayout" Target="../slideLayouts/slideLayout102.xml"/><Relationship Id="rId3" Type="http://schemas.openxmlformats.org/officeDocument/2006/relationships/slideLayout" Target="../slideLayouts/slideLayout97.xml"/><Relationship Id="rId12" Type="http://schemas.openxmlformats.org/officeDocument/2006/relationships/slideLayout" Target="../slideLayouts/slideLayout106.xml"/><Relationship Id="rId17" Type="http://schemas.openxmlformats.org/officeDocument/2006/relationships/slideLayout" Target="../slideLayouts/slideLayout111.xml"/><Relationship Id="rId25" Type="http://schemas.openxmlformats.org/officeDocument/2006/relationships/slideLayout" Target="../slideLayouts/slideLayout119.xml"/><Relationship Id="rId33" Type="http://schemas.openxmlformats.org/officeDocument/2006/relationships/slideLayout" Target="../slideLayouts/slideLayout127.xml"/><Relationship Id="rId38" Type="http://schemas.openxmlformats.org/officeDocument/2006/relationships/slideLayout" Target="../slideLayouts/slideLayout132.xml"/><Relationship Id="rId20" Type="http://schemas.openxmlformats.org/officeDocument/2006/relationships/slideLayout" Target="../slideLayouts/slideLayout114.xml"/><Relationship Id="rId41" Type="http://schemas.openxmlformats.org/officeDocument/2006/relationships/slideLayout" Target="../slideLayouts/slideLayout13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26" Type="http://schemas.openxmlformats.org/officeDocument/2006/relationships/slideLayout" Target="../slideLayouts/slideLayout163.xml"/><Relationship Id="rId3" Type="http://schemas.openxmlformats.org/officeDocument/2006/relationships/slideLayout" Target="../slideLayouts/slideLayout140.xml"/><Relationship Id="rId21" Type="http://schemas.openxmlformats.org/officeDocument/2006/relationships/slideLayout" Target="../slideLayouts/slideLayout158.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5" Type="http://schemas.openxmlformats.org/officeDocument/2006/relationships/slideLayout" Target="../slideLayouts/slideLayout162.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slideLayout" Target="../slideLayouts/slideLayout157.xml"/><Relationship Id="rId29" Type="http://schemas.openxmlformats.org/officeDocument/2006/relationships/theme" Target="../theme/theme7.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24" Type="http://schemas.openxmlformats.org/officeDocument/2006/relationships/slideLayout" Target="../slideLayouts/slideLayout161.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23" Type="http://schemas.openxmlformats.org/officeDocument/2006/relationships/slideLayout" Target="../slideLayouts/slideLayout160.xml"/><Relationship Id="rId28" Type="http://schemas.openxmlformats.org/officeDocument/2006/relationships/slideLayout" Target="../slideLayouts/slideLayout165.xml"/><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 Id="rId22" Type="http://schemas.openxmlformats.org/officeDocument/2006/relationships/slideLayout" Target="../slideLayouts/slideLayout159.xml"/><Relationship Id="rId27" Type="http://schemas.openxmlformats.org/officeDocument/2006/relationships/slideLayout" Target="../slideLayouts/slideLayout164.xml"/><Relationship Id="rId30" Type="http://schemas.openxmlformats.org/officeDocument/2006/relationships/image" Target="../media/image20.emf"/></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78.xml"/><Relationship Id="rId18" Type="http://schemas.openxmlformats.org/officeDocument/2006/relationships/slideLayout" Target="../slideLayouts/slideLayout183.xml"/><Relationship Id="rId26" Type="http://schemas.openxmlformats.org/officeDocument/2006/relationships/slideLayout" Target="../slideLayouts/slideLayout191.xml"/><Relationship Id="rId39" Type="http://schemas.openxmlformats.org/officeDocument/2006/relationships/slideLayout" Target="../slideLayouts/slideLayout204.xml"/><Relationship Id="rId21" Type="http://schemas.openxmlformats.org/officeDocument/2006/relationships/slideLayout" Target="../slideLayouts/slideLayout186.xml"/><Relationship Id="rId34" Type="http://schemas.openxmlformats.org/officeDocument/2006/relationships/slideLayout" Target="../slideLayouts/slideLayout199.xml"/><Relationship Id="rId7" Type="http://schemas.openxmlformats.org/officeDocument/2006/relationships/slideLayout" Target="../slideLayouts/slideLayout172.xml"/><Relationship Id="rId2" Type="http://schemas.openxmlformats.org/officeDocument/2006/relationships/slideLayout" Target="../slideLayouts/slideLayout167.xml"/><Relationship Id="rId16" Type="http://schemas.openxmlformats.org/officeDocument/2006/relationships/slideLayout" Target="../slideLayouts/slideLayout181.xml"/><Relationship Id="rId20" Type="http://schemas.openxmlformats.org/officeDocument/2006/relationships/slideLayout" Target="../slideLayouts/slideLayout185.xml"/><Relationship Id="rId29" Type="http://schemas.openxmlformats.org/officeDocument/2006/relationships/slideLayout" Target="../slideLayouts/slideLayout194.xml"/><Relationship Id="rId41" Type="http://schemas.openxmlformats.org/officeDocument/2006/relationships/image" Target="../media/image8.emf"/><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24" Type="http://schemas.openxmlformats.org/officeDocument/2006/relationships/slideLayout" Target="../slideLayouts/slideLayout189.xml"/><Relationship Id="rId32" Type="http://schemas.openxmlformats.org/officeDocument/2006/relationships/slideLayout" Target="../slideLayouts/slideLayout197.xml"/><Relationship Id="rId37" Type="http://schemas.openxmlformats.org/officeDocument/2006/relationships/slideLayout" Target="../slideLayouts/slideLayout202.xml"/><Relationship Id="rId40" Type="http://schemas.openxmlformats.org/officeDocument/2006/relationships/theme" Target="../theme/theme8.xml"/><Relationship Id="rId5" Type="http://schemas.openxmlformats.org/officeDocument/2006/relationships/slideLayout" Target="../slideLayouts/slideLayout170.xml"/><Relationship Id="rId15" Type="http://schemas.openxmlformats.org/officeDocument/2006/relationships/slideLayout" Target="../slideLayouts/slideLayout180.xml"/><Relationship Id="rId23" Type="http://schemas.openxmlformats.org/officeDocument/2006/relationships/slideLayout" Target="../slideLayouts/slideLayout188.xml"/><Relationship Id="rId28" Type="http://schemas.openxmlformats.org/officeDocument/2006/relationships/slideLayout" Target="../slideLayouts/slideLayout193.xml"/><Relationship Id="rId36" Type="http://schemas.openxmlformats.org/officeDocument/2006/relationships/slideLayout" Target="../slideLayouts/slideLayout201.xml"/><Relationship Id="rId10" Type="http://schemas.openxmlformats.org/officeDocument/2006/relationships/slideLayout" Target="../slideLayouts/slideLayout175.xml"/><Relationship Id="rId19" Type="http://schemas.openxmlformats.org/officeDocument/2006/relationships/slideLayout" Target="../slideLayouts/slideLayout184.xml"/><Relationship Id="rId31" Type="http://schemas.openxmlformats.org/officeDocument/2006/relationships/slideLayout" Target="../slideLayouts/slideLayout196.xml"/><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 Id="rId22" Type="http://schemas.openxmlformats.org/officeDocument/2006/relationships/slideLayout" Target="../slideLayouts/slideLayout187.xml"/><Relationship Id="rId27" Type="http://schemas.openxmlformats.org/officeDocument/2006/relationships/slideLayout" Target="../slideLayouts/slideLayout192.xml"/><Relationship Id="rId30" Type="http://schemas.openxmlformats.org/officeDocument/2006/relationships/slideLayout" Target="../slideLayouts/slideLayout195.xml"/><Relationship Id="rId35" Type="http://schemas.openxmlformats.org/officeDocument/2006/relationships/slideLayout" Target="../slideLayouts/slideLayout200.xml"/><Relationship Id="rId8" Type="http://schemas.openxmlformats.org/officeDocument/2006/relationships/slideLayout" Target="../slideLayouts/slideLayout173.xml"/><Relationship Id="rId3" Type="http://schemas.openxmlformats.org/officeDocument/2006/relationships/slideLayout" Target="../slideLayouts/slideLayout168.xml"/><Relationship Id="rId12" Type="http://schemas.openxmlformats.org/officeDocument/2006/relationships/slideLayout" Target="../slideLayouts/slideLayout177.xml"/><Relationship Id="rId17" Type="http://schemas.openxmlformats.org/officeDocument/2006/relationships/slideLayout" Target="../slideLayouts/slideLayout182.xml"/><Relationship Id="rId25" Type="http://schemas.openxmlformats.org/officeDocument/2006/relationships/slideLayout" Target="../slideLayouts/slideLayout190.xml"/><Relationship Id="rId33" Type="http://schemas.openxmlformats.org/officeDocument/2006/relationships/slideLayout" Target="../slideLayouts/slideLayout198.xml"/><Relationship Id="rId38" Type="http://schemas.openxmlformats.org/officeDocument/2006/relationships/slideLayout" Target="../slideLayouts/slideLayout20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1"/>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52153128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8096674-176A-4EC4-A0D3-D4C26267E57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AFF43824-68A7-4D9A-A989-63B2886619D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47CAA99-F589-4D1E-A275-85F87F3F0BC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7533FA-4E36-41A4-900E-A86322AE6242}" type="datetimeFigureOut">
              <a:rPr lang="en-GB" smtClean="0"/>
              <a:t>25/05/2021</a:t>
            </a:fld>
            <a:endParaRPr lang="en-GB"/>
          </a:p>
        </p:txBody>
      </p:sp>
      <p:sp>
        <p:nvSpPr>
          <p:cNvPr id="5" name="Footer Placeholder 4">
            <a:extLst>
              <a:ext uri="{FF2B5EF4-FFF2-40B4-BE49-F238E27FC236}">
                <a16:creationId xmlns:a16="http://schemas.microsoft.com/office/drawing/2014/main" id="{B1171B8D-97BA-4326-8D89-AAC57F0F943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5C5983B-3E02-4B79-B273-F571654B547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518AE20-329B-43EC-AEEE-651E0F6C168C}" type="slidenum">
              <a:rPr lang="en-GB" smtClean="0"/>
              <a:t>‹#›</a:t>
            </a:fld>
            <a:endParaRPr lang="en-GB"/>
          </a:p>
        </p:txBody>
      </p:sp>
    </p:spTree>
    <p:extLst>
      <p:ext uri="{BB962C8B-B14F-4D97-AF65-F5344CB8AC3E}">
        <p14:creationId xmlns:p14="http://schemas.microsoft.com/office/powerpoint/2010/main" val="2705911975"/>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Picture 2" descr="A screenshot of a video game&#10;&#10;Description automatically generated">
            <a:extLst>
              <a:ext uri="{FF2B5EF4-FFF2-40B4-BE49-F238E27FC236}">
                <a16:creationId xmlns:a16="http://schemas.microsoft.com/office/drawing/2014/main" id="{E73D293A-1573-423A-ADB6-5D0A96CA78AB}"/>
              </a:ext>
            </a:extLst>
          </p:cNvPr>
          <p:cNvPicPr>
            <a:picLocks noChangeAspect="1"/>
          </p:cNvPicPr>
          <p:nvPr userDrawn="1"/>
        </p:nvPicPr>
        <p:blipFill>
          <a:blip r:embed="rId19" cstate="hqprint">
            <a:extLst>
              <a:ext uri="{28A0092B-C50C-407E-A947-70E740481C1C}">
                <a14:useLocalDpi xmlns:a14="http://schemas.microsoft.com/office/drawing/2010/main" val="0"/>
              </a:ext>
            </a:extLst>
          </a:blip>
          <a:stretch>
            <a:fillRect/>
          </a:stretch>
        </p:blipFill>
        <p:spPr>
          <a:xfrm rot="5400000">
            <a:off x="9698399" y="2854947"/>
            <a:ext cx="6858002" cy="1148107"/>
          </a:xfrm>
          <a:prstGeom prst="rect">
            <a:avLst/>
          </a:prstGeom>
        </p:spPr>
      </p:pic>
      <p:sp>
        <p:nvSpPr>
          <p:cNvPr id="13" name="Title Placeholder 12">
            <a:extLst>
              <a:ext uri="{FF2B5EF4-FFF2-40B4-BE49-F238E27FC236}">
                <a16:creationId xmlns:a16="http://schemas.microsoft.com/office/drawing/2014/main" id="{63452A1F-EFD8-466A-89F8-53920254B40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14" name="Text Placeholder 13">
            <a:extLst>
              <a:ext uri="{FF2B5EF4-FFF2-40B4-BE49-F238E27FC236}">
                <a16:creationId xmlns:a16="http://schemas.microsoft.com/office/drawing/2014/main" id="{5E1F8ACD-9405-407C-AD44-116DD2C8A44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812732925"/>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985" r:id="rId11"/>
    <p:sldLayoutId id="2147483718" r:id="rId12"/>
    <p:sldLayoutId id="2147483719" r:id="rId13"/>
    <p:sldLayoutId id="2147483720" r:id="rId14"/>
    <p:sldLayoutId id="2147483721" r:id="rId15"/>
    <p:sldLayoutId id="2147483722" r:id="rId16"/>
    <p:sldLayoutId id="2147483723" r:id="rId17"/>
  </p:sldLayoutIdLst>
  <p:transition>
    <p:fade/>
  </p:transition>
  <p:txStyles>
    <p:titleStyle>
      <a:lvl1pPr algn="l" defTabSz="914400" rtl="0" eaLnBrk="1" latinLnBrk="0" hangingPunct="1">
        <a:lnSpc>
          <a:spcPct val="90000"/>
        </a:lnSpc>
        <a:spcBef>
          <a:spcPct val="0"/>
        </a:spcBef>
        <a:buNone/>
        <a:defRPr sz="3600" b="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9">
          <p15:clr>
            <a:srgbClr val="F26B43"/>
          </p15:clr>
        </p15:guide>
        <p15:guide id="2" orient="horz" pos="339">
          <p15:clr>
            <a:srgbClr val="F26B43"/>
          </p15:clr>
        </p15:guide>
        <p15:guide id="3" pos="7336">
          <p15:clr>
            <a:srgbClr val="F26B43"/>
          </p15:clr>
        </p15:guide>
        <p15:guide id="4" orient="horz" pos="3974">
          <p15:clr>
            <a:srgbClr val="F26B43"/>
          </p15:clr>
        </p15:guide>
        <p15:guide id="5" pos="3840">
          <p15:clr>
            <a:srgbClr val="F26B43"/>
          </p15:clr>
        </p15:guide>
        <p15:guide id="6" orient="horz" pos="2160">
          <p15:clr>
            <a:srgbClr val="F26B43"/>
          </p15:clr>
        </p15:guide>
        <p15:guide id="7" pos="3668">
          <p15:clr>
            <a:srgbClr val="F26B43"/>
          </p15:clr>
        </p15:guide>
        <p15:guide id="8" pos="4010">
          <p15:clr>
            <a:srgbClr val="F26B43"/>
          </p15:clr>
        </p15:guide>
        <p15:guide id="9" pos="2519">
          <p15:clr>
            <a:srgbClr val="F26B43"/>
          </p15:clr>
        </p15:guide>
        <p15:guide id="10" pos="2741">
          <p15:clr>
            <a:srgbClr val="F26B43"/>
          </p15:clr>
        </p15:guide>
        <p15:guide id="11" pos="4928">
          <p15:clr>
            <a:srgbClr val="F26B43"/>
          </p15:clr>
        </p15:guide>
        <p15:guide id="12" pos="5152">
          <p15:clr>
            <a:srgbClr val="F26B43"/>
          </p15:clr>
        </p15:guide>
        <p15:guide id="13" orient="horz" pos="360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992945833"/>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 id="2147483743" r:id="rId19"/>
    <p:sldLayoutId id="2147483744" r:id="rId20"/>
    <p:sldLayoutId id="2147483745" r:id="rId21"/>
    <p:sldLayoutId id="2147483746" r:id="rId22"/>
    <p:sldLayoutId id="2147483747" r:id="rId23"/>
    <p:sldLayoutId id="2147483748" r:id="rId24"/>
    <p:sldLayoutId id="2147483749" r:id="rId25"/>
    <p:sldLayoutId id="2147483750" r:id="rId26"/>
    <p:sldLayoutId id="2147483751" r:id="rId27"/>
    <p:sldLayoutId id="2147483752" r:id="rId28"/>
    <p:sldLayoutId id="2147483753" r:id="rId29"/>
    <p:sldLayoutId id="2147483754" r:id="rId30"/>
    <p:sldLayoutId id="2147483755" r:id="rId31"/>
    <p:sldLayoutId id="2147483756" r:id="rId3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descr="A screenshot of a video game&#10;&#10;Description automatically generated">
            <a:extLst>
              <a:ext uri="{FF2B5EF4-FFF2-40B4-BE49-F238E27FC236}">
                <a16:creationId xmlns:a16="http://schemas.microsoft.com/office/drawing/2014/main" id="{0C52390D-B66C-4D1A-B914-B6838D5C89C6}"/>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rot="5400000">
            <a:off x="9698400" y="2854948"/>
            <a:ext cx="6858002" cy="1148108"/>
          </a:xfrm>
          <a:prstGeom prst="rect">
            <a:avLst/>
          </a:prstGeom>
        </p:spPr>
      </p:pic>
      <p:sp>
        <p:nvSpPr>
          <p:cNvPr id="13" name="Title Placeholder 12">
            <a:extLst>
              <a:ext uri="{FF2B5EF4-FFF2-40B4-BE49-F238E27FC236}">
                <a16:creationId xmlns:a16="http://schemas.microsoft.com/office/drawing/2014/main" id="{63452A1F-EFD8-466A-89F8-53920254B40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14" name="Text Placeholder 13">
            <a:extLst>
              <a:ext uri="{FF2B5EF4-FFF2-40B4-BE49-F238E27FC236}">
                <a16:creationId xmlns:a16="http://schemas.microsoft.com/office/drawing/2014/main" id="{5E1F8ACD-9405-407C-AD44-116DD2C8A44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97276090"/>
      </p:ext>
    </p:extLst>
  </p:cSld>
  <p:clrMap bg1="lt1" tx1="dk1" bg2="lt2" tx2="dk2" accent1="accent1" accent2="accent2" accent3="accent3" accent4="accent4" accent5="accent5" accent6="accent6" hlink="hlink" folHlink="folHlink"/>
  <p:sldLayoutIdLst>
    <p:sldLayoutId id="2147483987" r:id="rId1"/>
    <p:sldLayoutId id="2147483988" r:id="rId2"/>
    <p:sldLayoutId id="2147483989" r:id="rId3"/>
    <p:sldLayoutId id="2147483990" r:id="rId4"/>
    <p:sldLayoutId id="2147483991" r:id="rId5"/>
    <p:sldLayoutId id="2147483992" r:id="rId6"/>
    <p:sldLayoutId id="2147483993" r:id="rId7"/>
    <p:sldLayoutId id="2147483994" r:id="rId8"/>
    <p:sldLayoutId id="2147483995" r:id="rId9"/>
    <p:sldLayoutId id="2147483996" r:id="rId10"/>
    <p:sldLayoutId id="2147483997" r:id="rId11"/>
    <p:sldLayoutId id="2147483998" r:id="rId12"/>
    <p:sldLayoutId id="2147483999" r:id="rId13"/>
  </p:sldLayoutIdLst>
  <p:transition>
    <p:fade/>
  </p:transition>
  <p:txStyles>
    <p:title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9">
          <p15:clr>
            <a:srgbClr val="F26B43"/>
          </p15:clr>
        </p15:guide>
        <p15:guide id="2" orient="horz" pos="339">
          <p15:clr>
            <a:srgbClr val="F26B43"/>
          </p15:clr>
        </p15:guide>
        <p15:guide id="3" pos="7336">
          <p15:clr>
            <a:srgbClr val="F26B43"/>
          </p15:clr>
        </p15:guide>
        <p15:guide id="4" orient="horz" pos="3975">
          <p15:clr>
            <a:srgbClr val="F26B43"/>
          </p15:clr>
        </p15:guide>
        <p15:guide id="5" pos="3840">
          <p15:clr>
            <a:srgbClr val="F26B43"/>
          </p15:clr>
        </p15:guide>
        <p15:guide id="6" orient="horz" pos="2160">
          <p15:clr>
            <a:srgbClr val="F26B43"/>
          </p15:clr>
        </p15:guide>
        <p15:guide id="7" pos="3668">
          <p15:clr>
            <a:srgbClr val="F26B43"/>
          </p15:clr>
        </p15:guide>
        <p15:guide id="8" pos="4010">
          <p15:clr>
            <a:srgbClr val="F26B43"/>
          </p15:clr>
        </p15:guide>
        <p15:guide id="9" pos="2519">
          <p15:clr>
            <a:srgbClr val="F26B43"/>
          </p15:clr>
        </p15:guide>
        <p15:guide id="10" pos="2741">
          <p15:clr>
            <a:srgbClr val="F26B43"/>
          </p15:clr>
        </p15:guide>
        <p15:guide id="11" pos="4928">
          <p15:clr>
            <a:srgbClr val="F26B43"/>
          </p15:clr>
        </p15:guide>
        <p15:guide id="12" pos="5152">
          <p15:clr>
            <a:srgbClr val="F26B43"/>
          </p15:clr>
        </p15:guide>
        <p15:guide id="13" orient="horz" pos="360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74816" y="510988"/>
            <a:ext cx="11018520" cy="43088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26803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45" cstate="print">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96632648"/>
      </p:ext>
    </p:extLst>
  </p:cSld>
  <p:clrMap bg1="lt1" tx1="dk1" bg2="lt2" tx2="dk2" accent1="accent1" accent2="accent2" accent3="accent3" accent4="accent4" accent5="accent5" accent6="accent6" hlink="hlink" folHlink="folHlink"/>
  <p:sldLayoutIdLst>
    <p:sldLayoutId id="2147484001" r:id="rId1"/>
    <p:sldLayoutId id="2147484002" r:id="rId2"/>
    <p:sldLayoutId id="2147484003" r:id="rId3"/>
    <p:sldLayoutId id="2147484004" r:id="rId4"/>
    <p:sldLayoutId id="2147484005" r:id="rId5"/>
    <p:sldLayoutId id="2147484006" r:id="rId6"/>
    <p:sldLayoutId id="2147484007" r:id="rId7"/>
    <p:sldLayoutId id="2147484008" r:id="rId8"/>
    <p:sldLayoutId id="2147484009" r:id="rId9"/>
    <p:sldLayoutId id="2147484010" r:id="rId10"/>
    <p:sldLayoutId id="2147484011" r:id="rId11"/>
    <p:sldLayoutId id="2147484012" r:id="rId12"/>
    <p:sldLayoutId id="2147484013" r:id="rId13"/>
    <p:sldLayoutId id="2147484014" r:id="rId14"/>
    <p:sldLayoutId id="2147484015" r:id="rId15"/>
    <p:sldLayoutId id="2147484016" r:id="rId16"/>
    <p:sldLayoutId id="2147484017" r:id="rId17"/>
    <p:sldLayoutId id="2147484018" r:id="rId18"/>
    <p:sldLayoutId id="2147484019" r:id="rId19"/>
    <p:sldLayoutId id="2147484020" r:id="rId20"/>
    <p:sldLayoutId id="2147484021" r:id="rId21"/>
    <p:sldLayoutId id="2147484022" r:id="rId22"/>
    <p:sldLayoutId id="2147484023" r:id="rId23"/>
    <p:sldLayoutId id="2147484024" r:id="rId24"/>
    <p:sldLayoutId id="2147484025" r:id="rId25"/>
    <p:sldLayoutId id="2147484026" r:id="rId26"/>
    <p:sldLayoutId id="2147484027" r:id="rId27"/>
    <p:sldLayoutId id="2147484028" r:id="rId28"/>
    <p:sldLayoutId id="2147484029" r:id="rId29"/>
    <p:sldLayoutId id="2147484030" r:id="rId30"/>
    <p:sldLayoutId id="2147484031" r:id="rId31"/>
    <p:sldLayoutId id="2147484032" r:id="rId32"/>
    <p:sldLayoutId id="2147484033" r:id="rId33"/>
    <p:sldLayoutId id="2147484034" r:id="rId34"/>
    <p:sldLayoutId id="2147484035" r:id="rId35"/>
    <p:sldLayoutId id="2147484036" r:id="rId36"/>
    <p:sldLayoutId id="2147484037" r:id="rId37"/>
    <p:sldLayoutId id="2147484038" r:id="rId38"/>
    <p:sldLayoutId id="2147484039" r:id="rId39"/>
    <p:sldLayoutId id="2147484040" r:id="rId40"/>
    <p:sldLayoutId id="2147484041" r:id="rId41"/>
    <p:sldLayoutId id="2147484042" r:id="rId42"/>
    <p:sldLayoutId id="2147484043" r:id="rId43"/>
  </p:sldLayoutIdLst>
  <p:transition>
    <p:fade/>
  </p:transition>
  <p:hf sldNum="0" hdr="0" ftr="0" dt="0"/>
  <p:txStyles>
    <p:titleStyle>
      <a:lvl1pPr algn="l" defTabSz="932742" rtl="0" eaLnBrk="1" latinLnBrk="0" hangingPunct="1">
        <a:lnSpc>
          <a:spcPct val="10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0">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932105"/>
      </p:ext>
    </p:extLst>
  </p:cSld>
  <p:clrMap bg1="lt1" tx1="dk1" bg2="lt2" tx2="dk2" accent1="accent1" accent2="accent2" accent3="accent3" accent4="accent4" accent5="accent5" accent6="accent6" hlink="hlink" folHlink="folHlink"/>
  <p:sldLayoutIdLst>
    <p:sldLayoutId id="2147484045" r:id="rId1"/>
    <p:sldLayoutId id="2147484046" r:id="rId2"/>
    <p:sldLayoutId id="2147484047" r:id="rId3"/>
    <p:sldLayoutId id="2147484048" r:id="rId4"/>
    <p:sldLayoutId id="2147484049" r:id="rId5"/>
    <p:sldLayoutId id="2147484050" r:id="rId6"/>
    <p:sldLayoutId id="2147484051" r:id="rId7"/>
    <p:sldLayoutId id="2147484052" r:id="rId8"/>
    <p:sldLayoutId id="2147484053" r:id="rId9"/>
    <p:sldLayoutId id="2147484054" r:id="rId10"/>
    <p:sldLayoutId id="2147484055" r:id="rId11"/>
    <p:sldLayoutId id="2147484056" r:id="rId12"/>
    <p:sldLayoutId id="2147484057" r:id="rId13"/>
    <p:sldLayoutId id="2147484058" r:id="rId14"/>
    <p:sldLayoutId id="2147484059" r:id="rId15"/>
    <p:sldLayoutId id="2147484060" r:id="rId16"/>
    <p:sldLayoutId id="2147484061" r:id="rId17"/>
    <p:sldLayoutId id="2147484062" r:id="rId18"/>
    <p:sldLayoutId id="2147484063" r:id="rId19"/>
    <p:sldLayoutId id="2147484064" r:id="rId20"/>
    <p:sldLayoutId id="2147484065" r:id="rId21"/>
    <p:sldLayoutId id="2147484066" r:id="rId22"/>
    <p:sldLayoutId id="2147484067" r:id="rId23"/>
    <p:sldLayoutId id="2147484068" r:id="rId24"/>
    <p:sldLayoutId id="2147484069" r:id="rId25"/>
    <p:sldLayoutId id="2147484070" r:id="rId26"/>
    <p:sldLayoutId id="2147484071" r:id="rId27"/>
    <p:sldLayoutId id="2147484072" r:id="rId28"/>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1"/>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4031760838"/>
      </p:ext>
    </p:extLst>
  </p:cSld>
  <p:clrMap bg1="lt1" tx1="dk1" bg2="lt2" tx2="dk2" accent1="accent1" accent2="accent2" accent3="accent3" accent4="accent4" accent5="accent5" accent6="accent6" hlink="hlink" folHlink="folHlink"/>
  <p:sldLayoutIdLst>
    <p:sldLayoutId id="2147484087" r:id="rId1"/>
    <p:sldLayoutId id="2147484088" r:id="rId2"/>
    <p:sldLayoutId id="2147484089" r:id="rId3"/>
    <p:sldLayoutId id="2147484090" r:id="rId4"/>
    <p:sldLayoutId id="2147484091" r:id="rId5"/>
    <p:sldLayoutId id="2147484092" r:id="rId6"/>
    <p:sldLayoutId id="2147484093" r:id="rId7"/>
    <p:sldLayoutId id="2147484094" r:id="rId8"/>
    <p:sldLayoutId id="2147484095" r:id="rId9"/>
    <p:sldLayoutId id="2147484096" r:id="rId10"/>
    <p:sldLayoutId id="2147484097" r:id="rId11"/>
    <p:sldLayoutId id="2147484098" r:id="rId12"/>
    <p:sldLayoutId id="2147484099" r:id="rId13"/>
    <p:sldLayoutId id="2147484100" r:id="rId14"/>
    <p:sldLayoutId id="2147484101" r:id="rId15"/>
    <p:sldLayoutId id="2147484102" r:id="rId16"/>
    <p:sldLayoutId id="2147484103" r:id="rId17"/>
    <p:sldLayoutId id="2147484104" r:id="rId18"/>
    <p:sldLayoutId id="2147484105" r:id="rId19"/>
    <p:sldLayoutId id="2147484106" r:id="rId20"/>
    <p:sldLayoutId id="2147484107" r:id="rId21"/>
    <p:sldLayoutId id="2147484108" r:id="rId22"/>
    <p:sldLayoutId id="2147484109" r:id="rId23"/>
    <p:sldLayoutId id="2147484110" r:id="rId24"/>
    <p:sldLayoutId id="2147484111" r:id="rId25"/>
    <p:sldLayoutId id="2147484112" r:id="rId26"/>
    <p:sldLayoutId id="2147484113" r:id="rId27"/>
    <p:sldLayoutId id="2147484114" r:id="rId28"/>
    <p:sldLayoutId id="2147484115" r:id="rId29"/>
    <p:sldLayoutId id="2147484116" r:id="rId30"/>
    <p:sldLayoutId id="2147484117" r:id="rId31"/>
    <p:sldLayoutId id="2147484118" r:id="rId32"/>
    <p:sldLayoutId id="2147484119" r:id="rId33"/>
    <p:sldLayoutId id="2147484120" r:id="rId34"/>
    <p:sldLayoutId id="2147484121" r:id="rId35"/>
    <p:sldLayoutId id="2147484122" r:id="rId36"/>
    <p:sldLayoutId id="2147484123" r:id="rId37"/>
    <p:sldLayoutId id="2147484124" r:id="rId38"/>
    <p:sldLayoutId id="2147484125" r:id="rId3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7.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2.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emf"/><Relationship Id="rId7" Type="http://schemas.openxmlformats.org/officeDocument/2006/relationships/image" Target="../media/image42.svg"/><Relationship Id="rId2" Type="http://schemas.openxmlformats.org/officeDocument/2006/relationships/notesSlide" Target="../notesSlides/notesSlide2.xml"/><Relationship Id="rId1" Type="http://schemas.openxmlformats.org/officeDocument/2006/relationships/slideLayout" Target="../slideLayouts/slideLayout175.xml"/><Relationship Id="rId6" Type="http://schemas.openxmlformats.org/officeDocument/2006/relationships/image" Target="../media/image41.png"/><Relationship Id="rId5" Type="http://schemas.openxmlformats.org/officeDocument/2006/relationships/image" Target="../media/image40.svg"/><Relationship Id="rId4" Type="http://schemas.openxmlformats.org/officeDocument/2006/relationships/image" Target="../media/image39.png"/><Relationship Id="rId9" Type="http://schemas.openxmlformats.org/officeDocument/2006/relationships/image" Target="../media/image44.svg"/></Relationships>
</file>

<file path=ppt/slides/_rels/slide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xml"/><Relationship Id="rId1" Type="http://schemas.openxmlformats.org/officeDocument/2006/relationships/slideLayout" Target="../slideLayouts/slideLayout175.xml"/></Relationships>
</file>

<file path=ppt/slides/_rels/slide4.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4.xml"/><Relationship Id="rId1" Type="http://schemas.openxmlformats.org/officeDocument/2006/relationships/slideLayout" Target="../slideLayouts/slideLayout175.xml"/><Relationship Id="rId4" Type="http://schemas.openxmlformats.org/officeDocument/2006/relationships/image" Target="../media/image47.wmf"/></Relationships>
</file>

<file path=ppt/slides/_rels/slide5.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notesSlide" Target="../notesSlides/notesSlide5.xml"/><Relationship Id="rId1" Type="http://schemas.openxmlformats.org/officeDocument/2006/relationships/slideLayout" Target="../slideLayouts/slideLayout17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92.xml"/><Relationship Id="rId1" Type="http://schemas.openxmlformats.org/officeDocument/2006/relationships/tags" Target="../tags/tag8.xml"/><Relationship Id="rId6" Type="http://schemas.openxmlformats.org/officeDocument/2006/relationships/hyperlink" Target="http://aka.ms/AccessibilityChecker" TargetMode="External"/><Relationship Id="rId5" Type="http://schemas.openxmlformats.org/officeDocument/2006/relationships/image" Target="../media/image50.gif"/><Relationship Id="rId4" Type="http://schemas.openxmlformats.org/officeDocument/2006/relationships/image" Target="../media/image49.png"/></Relationships>
</file>

<file path=ppt/slides/_rels/slide7.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92.xml"/></Relationships>
</file>

<file path=ppt/slides/_rels/slide8.xml.rels><?xml version="1.0" encoding="UTF-8" standalone="yes"?>
<Relationships xmlns="http://schemas.openxmlformats.org/package/2006/relationships"><Relationship Id="rId8" Type="http://schemas.openxmlformats.org/officeDocument/2006/relationships/hyperlink" Target="https://education.microsoft.com/en-us/course/a41ac17d/overview" TargetMode="External"/><Relationship Id="rId3" Type="http://schemas.openxmlformats.org/officeDocument/2006/relationships/notesSlide" Target="../notesSlides/notesSlide7.xml"/><Relationship Id="rId7" Type="http://schemas.openxmlformats.org/officeDocument/2006/relationships/hyperlink" Target="https://docs.microsoft.com/en-us/learn/paths/accessibility-fundamentals/" TargetMode="External"/><Relationship Id="rId2" Type="http://schemas.openxmlformats.org/officeDocument/2006/relationships/slideLayout" Target="../slideLayouts/slideLayout175.xml"/><Relationship Id="rId1" Type="http://schemas.openxmlformats.org/officeDocument/2006/relationships/tags" Target="../tags/tag9.xml"/><Relationship Id="rId6" Type="http://schemas.openxmlformats.org/officeDocument/2006/relationships/image" Target="../media/image54.png"/><Relationship Id="rId5" Type="http://schemas.openxmlformats.org/officeDocument/2006/relationships/image" Target="../media/image53.svg"/><Relationship Id="rId4" Type="http://schemas.openxmlformats.org/officeDocument/2006/relationships/image" Target="../media/image52.png"/></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5.jpg"/><Relationship Id="rId1" Type="http://schemas.openxmlformats.org/officeDocument/2006/relationships/slideLayout" Target="../slideLayouts/slideLayout21.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303284" y="471845"/>
            <a:ext cx="10669516" cy="1718148"/>
          </a:xfrm>
        </p:spPr>
        <p:txBody>
          <a:bodyPr>
            <a:noAutofit/>
          </a:bodyPr>
          <a:lstStyle/>
          <a:p>
            <a:r>
              <a:rPr lang="en-US" sz="4400" b="1" dirty="0">
                <a:solidFill>
                  <a:schemeClr val="bg1"/>
                </a:solidFill>
              </a:rPr>
              <a:t>Creating Accessible Documents using Accessibility Checker</a:t>
            </a:r>
            <a:endParaRPr lang="en-GB" sz="3200" i="1" dirty="0">
              <a:solidFill>
                <a:schemeClr val="bg1"/>
              </a:solidFill>
              <a:latin typeface="Segoe UI Light" panose="020B0502040204020203" pitchFamily="34" charset="0"/>
              <a:cs typeface="Segoe UI Light" panose="020B0502040204020203" pitchFamily="34" charset="0"/>
            </a:endParaRPr>
          </a:p>
        </p:txBody>
      </p:sp>
      <p:sp>
        <p:nvSpPr>
          <p:cNvPr id="3" name="Rectangle 2">
            <a:extLst>
              <a:ext uri="{FF2B5EF4-FFF2-40B4-BE49-F238E27FC236}">
                <a16:creationId xmlns:a16="http://schemas.microsoft.com/office/drawing/2014/main" id="{9893997B-987F-4526-AB96-80D26393E500}"/>
              </a:ext>
            </a:extLst>
          </p:cNvPr>
          <p:cNvSpPr/>
          <p:nvPr/>
        </p:nvSpPr>
        <p:spPr>
          <a:xfrm>
            <a:off x="343941" y="2372958"/>
            <a:ext cx="6094444" cy="2988895"/>
          </a:xfrm>
          <a:prstGeom prst="rect">
            <a:avLst/>
          </a:prstGeom>
        </p:spPr>
        <p:txBody>
          <a:bodyP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3137" b="0" i="0" u="none" strike="noStrike" kern="1200" cap="none" spc="-100" normalizeH="0" baseline="0" noProof="0" dirty="0">
              <a:ln w="3175">
                <a:noFill/>
              </a:ln>
              <a:solidFill>
                <a:prstClr val="white"/>
              </a:solidFill>
              <a:effectLst/>
              <a:uLnTx/>
              <a:uFillTx/>
              <a:latin typeface="Segoe UI Light"/>
              <a:ea typeface="+mn-ea"/>
              <a:cs typeface="Segoe UI"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137" b="0" i="0" u="none" strike="noStrike" kern="1200" cap="none" spc="-100" normalizeH="0" baseline="0" noProof="0" dirty="0">
                <a:ln w="3175">
                  <a:noFill/>
                </a:ln>
                <a:solidFill>
                  <a:prstClr val="white"/>
                </a:solidFill>
                <a:effectLst/>
                <a:uLnTx/>
                <a:uFillTx/>
                <a:latin typeface="Segoe UI Light"/>
                <a:ea typeface="+mn-ea"/>
                <a:cs typeface="Segoe UI" pitchFamily="34" charset="0"/>
              </a:rPr>
              <a:t>Michael Vermeersch</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137" b="0" i="0" u="none" strike="noStrike" kern="1200" cap="none" spc="-100" normalizeH="0" baseline="0" noProof="0" dirty="0">
                <a:ln w="3175">
                  <a:noFill/>
                </a:ln>
                <a:solidFill>
                  <a:prstClr val="white"/>
                </a:solidFill>
                <a:effectLst/>
                <a:uLnTx/>
                <a:uFillTx/>
                <a:latin typeface="Segoe UI Light"/>
                <a:ea typeface="+mn-ea"/>
                <a:cs typeface="Segoe UI" pitchFamily="34" charset="0"/>
              </a:rPr>
              <a:t>Digital Inclusion Lead</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137" b="0" i="0" u="none" strike="noStrike" kern="1200" cap="none" spc="-100" normalizeH="0" baseline="0" noProof="0" dirty="0">
                <a:ln w="3175">
                  <a:noFill/>
                </a:ln>
                <a:solidFill>
                  <a:prstClr val="white"/>
                </a:solidFill>
                <a:effectLst/>
                <a:uLnTx/>
                <a:uFillTx/>
                <a:latin typeface="Segoe UI Light"/>
                <a:ea typeface="+mn-ea"/>
                <a:cs typeface="Segoe UI" pitchFamily="34" charset="0"/>
              </a:rPr>
              <a:t>Chair MS UK </a:t>
            </a:r>
            <a:r>
              <a:rPr lang="en-US" sz="3137" spc="-100" dirty="0">
                <a:ln w="3175">
                  <a:noFill/>
                </a:ln>
                <a:solidFill>
                  <a:prstClr val="white"/>
                </a:solidFill>
                <a:latin typeface="Segoe UI Light"/>
                <a:cs typeface="Segoe UI" pitchFamily="34" charset="0"/>
              </a:rPr>
              <a:t>D</a:t>
            </a:r>
            <a:r>
              <a:rPr kumimoji="0" lang="en-US" sz="3137" b="0" i="0" u="none" strike="noStrike" kern="1200" cap="none" spc="-100" normalizeH="0" baseline="0" noProof="0">
                <a:ln w="3175">
                  <a:noFill/>
                </a:ln>
                <a:solidFill>
                  <a:prstClr val="white"/>
                </a:solidFill>
                <a:effectLst/>
                <a:uLnTx/>
                <a:uFillTx/>
                <a:latin typeface="Segoe UI Light"/>
                <a:ea typeface="+mn-ea"/>
                <a:cs typeface="Segoe UI" pitchFamily="34" charset="0"/>
              </a:rPr>
              <a:t>isability</a:t>
            </a:r>
            <a:endParaRPr kumimoji="0" lang="en-US" sz="3137" b="0" i="0" u="none" strike="noStrike" kern="1200" cap="none" spc="-100" normalizeH="0" baseline="0" noProof="0" dirty="0">
              <a:ln w="3175">
                <a:noFill/>
              </a:ln>
              <a:solidFill>
                <a:prstClr val="white"/>
              </a:solidFill>
              <a:effectLst/>
              <a:uLnTx/>
              <a:uFillTx/>
              <a:latin typeface="Segoe UI Light"/>
              <a:ea typeface="+mn-ea"/>
              <a:cs typeface="Segoe UI"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137" b="0" i="0" u="none" strike="noStrike" kern="1200" cap="none" spc="-100" normalizeH="0" baseline="0" noProof="0" dirty="0">
                <a:ln w="3175">
                  <a:noFill/>
                </a:ln>
                <a:solidFill>
                  <a:prstClr val="white"/>
                </a:solidFill>
                <a:effectLst/>
                <a:uLnTx/>
                <a:uFillTx/>
                <a:latin typeface="Segoe UI Light"/>
                <a:ea typeface="+mn-ea"/>
                <a:cs typeface="Segoe UI" pitchFamily="34" charset="0"/>
              </a:rPr>
              <a:t>Employee Resource Group</a:t>
            </a: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3137" b="0" i="0" u="none" strike="noStrike" kern="1200" cap="none" spc="-100" normalizeH="0" baseline="0" noProof="0" dirty="0">
              <a:ln w="3175">
                <a:noFill/>
              </a:ln>
              <a:solidFill>
                <a:prstClr val="white"/>
              </a:solidFill>
              <a:effectLst/>
              <a:uLnTx/>
              <a:uFillTx/>
              <a:latin typeface="Segoe UI Light"/>
              <a:ea typeface="+mn-ea"/>
              <a:cs typeface="Segoe UI" pitchFamily="34" charset="0"/>
            </a:endParaRPr>
          </a:p>
        </p:txBody>
      </p:sp>
      <p:pic>
        <p:nvPicPr>
          <p:cNvPr id="4" name="Picture 3" descr="We have just been recognized as a Disability Confident Leader... in FY20 we need to continue displaying this and be a role model">
            <a:extLst>
              <a:ext uri="{FF2B5EF4-FFF2-40B4-BE49-F238E27FC236}">
                <a16:creationId xmlns:a16="http://schemas.microsoft.com/office/drawing/2014/main" id="{7C1D83DF-51FB-451E-A026-E6CBC8FDA588}"/>
              </a:ext>
            </a:extLst>
          </p:cNvPr>
          <p:cNvPicPr>
            <a:picLocks noChangeAspect="1"/>
          </p:cNvPicPr>
          <p:nvPr/>
        </p:nvPicPr>
        <p:blipFill>
          <a:blip r:embed="rId4"/>
          <a:stretch>
            <a:fillRect/>
          </a:stretch>
        </p:blipFill>
        <p:spPr>
          <a:xfrm>
            <a:off x="6806926" y="5378388"/>
            <a:ext cx="1988834" cy="986797"/>
          </a:xfrm>
          <a:prstGeom prst="rect">
            <a:avLst/>
          </a:prstGeom>
        </p:spPr>
      </p:pic>
      <p:pic>
        <p:nvPicPr>
          <p:cNvPr id="5" name="Picture 4" descr="Microsoft is a Disability-Smart Award Winner!">
            <a:extLst>
              <a:ext uri="{FF2B5EF4-FFF2-40B4-BE49-F238E27FC236}">
                <a16:creationId xmlns:a16="http://schemas.microsoft.com/office/drawing/2014/main" id="{CD94F037-FAE9-4F11-8FFD-23848EF441C9}"/>
              </a:ext>
            </a:extLst>
          </p:cNvPr>
          <p:cNvPicPr>
            <a:picLocks noChangeAspect="1"/>
          </p:cNvPicPr>
          <p:nvPr/>
        </p:nvPicPr>
        <p:blipFill>
          <a:blip r:embed="rId5"/>
          <a:stretch>
            <a:fillRect/>
          </a:stretch>
        </p:blipFill>
        <p:spPr>
          <a:xfrm>
            <a:off x="9301517" y="5298486"/>
            <a:ext cx="1144800" cy="1144800"/>
          </a:xfrm>
          <a:prstGeom prst="rect">
            <a:avLst/>
          </a:prstGeom>
        </p:spPr>
      </p:pic>
      <p:pic>
        <p:nvPicPr>
          <p:cNvPr id="6" name="Picture 5" descr="Microsoft is a Disability-Smart Award Winner!">
            <a:extLst>
              <a:ext uri="{FF2B5EF4-FFF2-40B4-BE49-F238E27FC236}">
                <a16:creationId xmlns:a16="http://schemas.microsoft.com/office/drawing/2014/main" id="{E286E973-8D29-4ECF-9F68-420C2D5D473A}"/>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0577507" y="5300286"/>
            <a:ext cx="1143000" cy="1143000"/>
          </a:xfrm>
          <a:prstGeom prst="rect">
            <a:avLst/>
          </a:prstGeom>
          <a:noFill/>
          <a:ln>
            <a:noFill/>
          </a:ln>
        </p:spPr>
      </p:pic>
    </p:spTree>
    <p:custDataLst>
      <p:tags r:id="rId1"/>
    </p:custDataLst>
    <p:extLst>
      <p:ext uri="{BB962C8B-B14F-4D97-AF65-F5344CB8AC3E}">
        <p14:creationId xmlns:p14="http://schemas.microsoft.com/office/powerpoint/2010/main" val="1310105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69FC64F-81DE-42BF-AFC0-E967520E29F8}"/>
              </a:ext>
              <a:ext uri="{C183D7F6-B498-43B3-948B-1728B52AA6E4}">
                <adec:decorative xmlns:adec="http://schemas.microsoft.com/office/drawing/2017/decorative" val="0"/>
              </a:ext>
            </a:extLst>
          </p:cNvPr>
          <p:cNvSpPr>
            <a:spLocks noGrp="1"/>
          </p:cNvSpPr>
          <p:nvPr>
            <p:ph type="title"/>
          </p:nvPr>
        </p:nvSpPr>
        <p:spPr>
          <a:xfrm>
            <a:off x="588263" y="457200"/>
            <a:ext cx="11018520" cy="553998"/>
          </a:xfrm>
        </p:spPr>
        <p:txBody>
          <a:bodyPr/>
          <a:lstStyle/>
          <a:p>
            <a:r>
              <a:rPr lang="en-US"/>
              <a:t>Accessibility is a responsibility </a:t>
            </a:r>
          </a:p>
        </p:txBody>
      </p:sp>
      <p:pic>
        <p:nvPicPr>
          <p:cNvPr id="3" name="Picture 2">
            <a:extLst>
              <a:ext uri="{FF2B5EF4-FFF2-40B4-BE49-F238E27FC236}">
                <a16:creationId xmlns:a16="http://schemas.microsoft.com/office/drawing/2014/main" id="{31A2C43F-C9AB-4A53-9D2C-4BEB1E50858B}"/>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0" y="1403350"/>
            <a:ext cx="12192000" cy="3672381"/>
          </a:xfrm>
          <a:prstGeom prst="rect">
            <a:avLst/>
          </a:prstGeom>
        </p:spPr>
      </p:pic>
      <p:sp>
        <p:nvSpPr>
          <p:cNvPr id="24" name="Rectangle 23">
            <a:extLst>
              <a:ext uri="{FF2B5EF4-FFF2-40B4-BE49-F238E27FC236}">
                <a16:creationId xmlns:a16="http://schemas.microsoft.com/office/drawing/2014/main" id="{EECF114E-AEB2-483E-A583-9DDDD0CC3173}"/>
              </a:ext>
              <a:ext uri="{C183D7F6-B498-43B3-948B-1728B52AA6E4}">
                <adec:decorative xmlns:adec="http://schemas.microsoft.com/office/drawing/2017/decorative" val="0"/>
              </a:ext>
            </a:extLst>
          </p:cNvPr>
          <p:cNvSpPr>
            <a:spLocks noChangeAspect="1"/>
          </p:cNvSpPr>
          <p:nvPr/>
        </p:nvSpPr>
        <p:spPr>
          <a:xfrm>
            <a:off x="588263" y="1603252"/>
            <a:ext cx="4183838" cy="997196"/>
          </a:xfrm>
          <a:prstGeom prst="rect">
            <a:avLst/>
          </a:prstGeom>
        </p:spPr>
        <p:txBody>
          <a:bodyPr wrap="none" lIns="0" tIns="0" rIns="0" bIns="0" anchor="t">
            <a:spAutoFit/>
          </a:bodyPr>
          <a:lstStyle/>
          <a:p>
            <a:pPr marL="0" marR="0" lvl="0" indent="0" algn="l" defTabSz="914225" rtl="0" eaLnBrk="1" fontAlgn="auto" latinLnBrk="0" hangingPunct="1">
              <a:lnSpc>
                <a:spcPct val="90000"/>
              </a:lnSpc>
              <a:spcBef>
                <a:spcPts val="0"/>
              </a:spcBef>
              <a:spcAft>
                <a:spcPts val="0"/>
              </a:spcAft>
              <a:buClrTx/>
              <a:buSzTx/>
              <a:buFontTx/>
              <a:buNone/>
              <a:tabLst/>
              <a:defRPr/>
            </a:pPr>
            <a:r>
              <a:rPr kumimoji="0" lang="en-US" sz="7200" b="1" i="0" u="none" strike="noStrike" kern="0" cap="none" spc="0" normalizeH="0" baseline="0" noProof="0">
                <a:ln>
                  <a:noFill/>
                </a:ln>
                <a:solidFill>
                  <a:srgbClr val="FFFFFF"/>
                </a:solidFill>
                <a:effectLst/>
                <a:uLnTx/>
                <a:uFillTx/>
                <a:latin typeface="Segoe UI"/>
                <a:ea typeface="+mn-ea"/>
                <a:cs typeface="+mn-cs"/>
              </a:rPr>
              <a:t>1+ billion</a:t>
            </a:r>
            <a:endParaRPr kumimoji="0" lang="en-US" sz="7200" b="0" i="0" u="none" strike="noStrike" kern="0" cap="none" spc="0" normalizeH="0" baseline="0" noProof="0">
              <a:ln>
                <a:noFill/>
              </a:ln>
              <a:solidFill>
                <a:srgbClr val="FFFFFF"/>
              </a:solidFill>
              <a:effectLst/>
              <a:uLnTx/>
              <a:uFillTx/>
              <a:latin typeface="Segoe UI"/>
              <a:ea typeface="+mn-ea"/>
              <a:cs typeface="+mn-cs"/>
            </a:endParaRPr>
          </a:p>
        </p:txBody>
      </p:sp>
      <p:sp>
        <p:nvSpPr>
          <p:cNvPr id="25" name="TextBox 24">
            <a:extLst>
              <a:ext uri="{FF2B5EF4-FFF2-40B4-BE49-F238E27FC236}">
                <a16:creationId xmlns:a16="http://schemas.microsoft.com/office/drawing/2014/main" id="{77F4BD43-8EAA-419A-A345-035938946B2F}"/>
              </a:ext>
              <a:ext uri="{C183D7F6-B498-43B3-948B-1728B52AA6E4}">
                <adec:decorative xmlns:adec="http://schemas.microsoft.com/office/drawing/2017/decorative" val="0"/>
              </a:ext>
            </a:extLst>
          </p:cNvPr>
          <p:cNvSpPr txBox="1"/>
          <p:nvPr/>
        </p:nvSpPr>
        <p:spPr>
          <a:xfrm>
            <a:off x="588263" y="2435360"/>
            <a:ext cx="4525352" cy="900479"/>
          </a:xfrm>
          <a:prstGeom prst="rect">
            <a:avLst/>
          </a:prstGeom>
        </p:spPr>
        <p:txBody>
          <a:bodyPr vert="horz" wrap="square" lIns="0" tIns="0" rIns="0" bIns="0" rtlCol="0" anchor="ctr">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FFFFFF"/>
                </a:solidFill>
                <a:effectLst/>
                <a:uLnTx/>
                <a:uFillTx/>
                <a:latin typeface="Segoe UI"/>
                <a:ea typeface="+mn-ea"/>
                <a:cs typeface="Segoe UI" panose="020B0502040204020203" pitchFamily="34" charset="0"/>
              </a:rPr>
              <a:t>people have disabilities, many of whom need assistive technology </a:t>
            </a:r>
          </a:p>
        </p:txBody>
      </p:sp>
      <p:sp>
        <p:nvSpPr>
          <p:cNvPr id="50" name="TextBox 49">
            <a:extLst>
              <a:ext uri="{FF2B5EF4-FFF2-40B4-BE49-F238E27FC236}">
                <a16:creationId xmlns:a16="http://schemas.microsoft.com/office/drawing/2014/main" id="{45F0DC25-8F13-493D-A762-25916F97C76E}"/>
              </a:ext>
              <a:ext uri="{C183D7F6-B498-43B3-948B-1728B52AA6E4}">
                <adec:decorative xmlns:adec="http://schemas.microsoft.com/office/drawing/2017/decorative" val="0"/>
              </a:ext>
            </a:extLst>
          </p:cNvPr>
          <p:cNvSpPr txBox="1"/>
          <p:nvPr/>
        </p:nvSpPr>
        <p:spPr>
          <a:xfrm>
            <a:off x="6696267" y="1772223"/>
            <a:ext cx="1205458" cy="369332"/>
          </a:xfrm>
          <a:prstGeom prst="rect">
            <a:avLst/>
          </a:prstGeom>
          <a:solidFill>
            <a:schemeClr val="bg1"/>
          </a:solidFill>
        </p:spPr>
        <p:txBody>
          <a:bodyPr wrap="none" lIns="0" tIns="0" rIns="0" bIns="0" rtlCol="0" anchor="ctr">
            <a:spAutoFit/>
          </a:bodyPr>
          <a:lstStyle/>
          <a:p>
            <a:pPr marL="0" marR="0" lvl="0" indent="0" algn="l" defTabSz="914367" rtl="0" eaLnBrk="1" fontAlgn="auto" latinLnBrk="0" hangingPunct="1">
              <a:lnSpc>
                <a:spcPct val="100000"/>
              </a:lnSpc>
              <a:spcBef>
                <a:spcPts val="200"/>
              </a:spcBef>
              <a:spcAft>
                <a:spcPts val="20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But only </a:t>
            </a:r>
          </a:p>
        </p:txBody>
      </p:sp>
      <p:sp>
        <p:nvSpPr>
          <p:cNvPr id="49" name="TextBox 48">
            <a:extLst>
              <a:ext uri="{FF2B5EF4-FFF2-40B4-BE49-F238E27FC236}">
                <a16:creationId xmlns:a16="http://schemas.microsoft.com/office/drawing/2014/main" id="{C4C3F670-8C37-418D-857F-BD96AE57D0C9}"/>
              </a:ext>
              <a:ext uri="{C183D7F6-B498-43B3-948B-1728B52AA6E4}">
                <adec:decorative xmlns:adec="http://schemas.microsoft.com/office/drawing/2017/decorative" val="0"/>
              </a:ext>
            </a:extLst>
          </p:cNvPr>
          <p:cNvSpPr txBox="1"/>
          <p:nvPr/>
        </p:nvSpPr>
        <p:spPr>
          <a:xfrm>
            <a:off x="6607367" y="2137700"/>
            <a:ext cx="2213748" cy="914096"/>
          </a:xfrm>
          <a:prstGeom prst="rect">
            <a:avLst/>
          </a:prstGeom>
          <a:solidFill>
            <a:schemeClr val="bg1"/>
          </a:solidFill>
        </p:spPr>
        <p:txBody>
          <a:bodyPr wrap="none" lIns="0" tIns="0" rIns="0" bIns="0" rtlCol="0" anchor="ctr">
            <a:sp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6600" b="1" i="0" u="none" strike="noStrike" kern="1200" cap="none" spc="0" normalizeH="0" baseline="0" noProof="0">
                <a:ln>
                  <a:noFill/>
                </a:ln>
                <a:solidFill>
                  <a:srgbClr val="0078D4"/>
                </a:solidFill>
                <a:effectLst/>
                <a:uLnTx/>
                <a:uFillTx/>
                <a:latin typeface="Segoe UI"/>
                <a:ea typeface="+mn-ea"/>
                <a:cs typeface="+mn-cs"/>
              </a:rPr>
              <a:t>1in10</a:t>
            </a:r>
            <a:endParaRPr kumimoji="0" lang="en-US" sz="6000" b="1" i="0" u="none" strike="noStrike" kern="1200" cap="none" spc="0" normalizeH="0" baseline="0" noProof="0">
              <a:ln>
                <a:noFill/>
              </a:ln>
              <a:solidFill>
                <a:srgbClr val="000000"/>
              </a:solidFill>
              <a:effectLst/>
              <a:uLnTx/>
              <a:uFillTx/>
              <a:latin typeface="Segoe UI"/>
              <a:ea typeface="+mn-ea"/>
              <a:cs typeface="+mn-cs"/>
            </a:endParaRPr>
          </a:p>
        </p:txBody>
      </p:sp>
      <p:sp>
        <p:nvSpPr>
          <p:cNvPr id="103" name="TextBox 102">
            <a:extLst>
              <a:ext uri="{FF2B5EF4-FFF2-40B4-BE49-F238E27FC236}">
                <a16:creationId xmlns:a16="http://schemas.microsoft.com/office/drawing/2014/main" id="{E0DB901A-B01E-44F4-BA87-FD3FE24429F5}"/>
              </a:ext>
              <a:ext uri="{C183D7F6-B498-43B3-948B-1728B52AA6E4}">
                <adec:decorative xmlns:adec="http://schemas.microsoft.com/office/drawing/2017/decorative" val="0"/>
              </a:ext>
            </a:extLst>
          </p:cNvPr>
          <p:cNvSpPr txBox="1"/>
          <p:nvPr/>
        </p:nvSpPr>
        <p:spPr>
          <a:xfrm>
            <a:off x="8991599" y="2182503"/>
            <a:ext cx="2656582" cy="738664"/>
          </a:xfrm>
          <a:prstGeom prst="rect">
            <a:avLst/>
          </a:prstGeom>
          <a:solidFill>
            <a:schemeClr val="bg1"/>
          </a:solidFill>
        </p:spPr>
        <p:txBody>
          <a:bodyPr wrap="square" lIns="0" tIns="0" rIns="0" bIns="0" rtlCol="0" anchor="ctr">
            <a:spAutoFit/>
          </a:bodyPr>
          <a:lstStyle/>
          <a:p>
            <a:pPr marL="0" marR="0" lvl="0" indent="0" algn="l" defTabSz="914367" rtl="0" eaLnBrk="1" fontAlgn="auto" latinLnBrk="0" hangingPunct="1">
              <a:lnSpc>
                <a:spcPct val="100000"/>
              </a:lnSpc>
              <a:spcBef>
                <a:spcPts val="200"/>
              </a:spcBef>
              <a:spcAft>
                <a:spcPts val="20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have access to the</a:t>
            </a:r>
            <a:br>
              <a:rPr kumimoji="0" lang="en-US" sz="2400" b="0" i="0" u="none" strike="noStrike" kern="1200" cap="none" spc="0" normalizeH="0" baseline="0" noProof="0">
                <a:ln>
                  <a:noFill/>
                </a:ln>
                <a:solidFill>
                  <a:srgbClr val="000000"/>
                </a:solidFill>
                <a:effectLst/>
                <a:uLnTx/>
                <a:uFillTx/>
                <a:latin typeface="Segoe UI"/>
                <a:ea typeface="+mn-ea"/>
                <a:cs typeface="+mn-cs"/>
              </a:rPr>
            </a:br>
            <a:r>
              <a:rPr kumimoji="0" lang="en-US" sz="2400" b="0" i="0" u="none" strike="noStrike" kern="1200" cap="none" spc="0" normalizeH="0" baseline="0" noProof="0">
                <a:ln>
                  <a:noFill/>
                </a:ln>
                <a:solidFill>
                  <a:srgbClr val="000000"/>
                </a:solidFill>
                <a:effectLst/>
                <a:uLnTx/>
                <a:uFillTx/>
                <a:latin typeface="Segoe UI"/>
                <a:ea typeface="+mn-ea"/>
                <a:cs typeface="+mn-cs"/>
              </a:rPr>
              <a:t>products needed</a:t>
            </a:r>
          </a:p>
        </p:txBody>
      </p:sp>
      <p:sp>
        <p:nvSpPr>
          <p:cNvPr id="101" name="TextBox 100">
            <a:extLst>
              <a:ext uri="{FF2B5EF4-FFF2-40B4-BE49-F238E27FC236}">
                <a16:creationId xmlns:a16="http://schemas.microsoft.com/office/drawing/2014/main" id="{8C4263DF-9D35-4E4F-8F9B-C47F9C501A20}"/>
              </a:ext>
              <a:ext uri="{C183D7F6-B498-43B3-948B-1728B52AA6E4}">
                <adec:decorative xmlns:adec="http://schemas.microsoft.com/office/drawing/2017/decorative" val="0"/>
              </a:ext>
            </a:extLst>
          </p:cNvPr>
          <p:cNvSpPr txBox="1"/>
          <p:nvPr/>
        </p:nvSpPr>
        <p:spPr>
          <a:xfrm>
            <a:off x="736600" y="3601710"/>
            <a:ext cx="5164089" cy="1231106"/>
          </a:xfrm>
          <a:prstGeom prst="rect">
            <a:avLst/>
          </a:prstGeom>
          <a:solidFill>
            <a:schemeClr val="bg1"/>
          </a:solidFill>
        </p:spPr>
        <p:txBody>
          <a:bodyPr wrap="square" lIns="0" tIns="0" rIns="0" bIns="0" rtlCol="0" anchor="ctr">
            <a:spAutoFit/>
          </a:bodyPr>
          <a:lstStyle/>
          <a:p>
            <a:pPr marL="0" marR="0" lvl="0" indent="0" algn="l" defTabSz="914367" rtl="0" eaLnBrk="1" fontAlgn="auto" latinLnBrk="0" hangingPunct="1">
              <a:lnSpc>
                <a:spcPct val="100000"/>
              </a:lnSpc>
              <a:spcBef>
                <a:spcPts val="200"/>
              </a:spcBef>
              <a:spcAft>
                <a:spcPts val="20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and</a:t>
            </a:r>
            <a:br>
              <a:rPr kumimoji="0" lang="en-US" sz="2400" b="0" i="0" u="none" strike="noStrike" kern="1200" cap="none" spc="0" normalizeH="0" baseline="0" noProof="0">
                <a:ln>
                  <a:noFill/>
                </a:ln>
                <a:solidFill>
                  <a:srgbClr val="000000"/>
                </a:solidFill>
                <a:effectLst/>
                <a:uLnTx/>
                <a:uFillTx/>
                <a:latin typeface="Segoe UI Semibold"/>
                <a:ea typeface="+mn-ea"/>
                <a:cs typeface="+mn-cs"/>
              </a:rPr>
            </a:br>
            <a:r>
              <a:rPr kumimoji="0" lang="en-US" sz="2800" b="0" i="0" u="none" strike="noStrike" kern="1200" cap="none" spc="0" normalizeH="0" baseline="0" noProof="0">
                <a:ln>
                  <a:noFill/>
                </a:ln>
                <a:solidFill>
                  <a:srgbClr val="0078D4"/>
                </a:solidFill>
                <a:effectLst/>
                <a:uLnTx/>
                <a:uFillTx/>
                <a:latin typeface="Segoe UI Semibold"/>
                <a:ea typeface="+mn-ea"/>
                <a:cs typeface="+mn-cs"/>
              </a:rPr>
              <a:t>disability can affect any</a:t>
            </a:r>
            <a:br>
              <a:rPr kumimoji="0" lang="en-US" sz="2800" b="0" i="0" u="none" strike="noStrike" kern="1200" cap="none" spc="0" normalizeH="0" baseline="0" noProof="0">
                <a:ln>
                  <a:noFill/>
                </a:ln>
                <a:solidFill>
                  <a:srgbClr val="0078D4"/>
                </a:solidFill>
                <a:effectLst/>
                <a:uLnTx/>
                <a:uFillTx/>
                <a:latin typeface="Segoe UI Semibold"/>
                <a:ea typeface="+mn-ea"/>
                <a:cs typeface="+mn-cs"/>
              </a:rPr>
            </a:br>
            <a:r>
              <a:rPr kumimoji="0" lang="en-US" sz="2800" b="0" i="0" u="none" strike="noStrike" kern="1200" cap="none" spc="0" normalizeH="0" baseline="0" noProof="0">
                <a:ln>
                  <a:noFill/>
                </a:ln>
                <a:solidFill>
                  <a:srgbClr val="0078D4"/>
                </a:solidFill>
                <a:effectLst/>
                <a:uLnTx/>
                <a:uFillTx/>
                <a:latin typeface="Segoe UI Semibold"/>
                <a:ea typeface="+mn-ea"/>
                <a:cs typeface="+mn-cs"/>
              </a:rPr>
              <a:t>of us at any time</a:t>
            </a:r>
            <a:endParaRPr kumimoji="0" lang="en-US" sz="2400" b="0" i="0" u="none" strike="noStrike" kern="1200" cap="none" spc="0" normalizeH="0" baseline="0" noProof="0">
              <a:ln>
                <a:noFill/>
              </a:ln>
              <a:solidFill>
                <a:srgbClr val="0078D4"/>
              </a:solidFill>
              <a:effectLst/>
              <a:uLnTx/>
              <a:uFillTx/>
              <a:latin typeface="Segoe UI Semibold"/>
              <a:ea typeface="+mn-ea"/>
              <a:cs typeface="+mn-cs"/>
            </a:endParaRPr>
          </a:p>
        </p:txBody>
      </p:sp>
      <p:sp>
        <p:nvSpPr>
          <p:cNvPr id="26" name="Rectangle 25">
            <a:extLst>
              <a:ext uri="{FF2B5EF4-FFF2-40B4-BE49-F238E27FC236}">
                <a16:creationId xmlns:a16="http://schemas.microsoft.com/office/drawing/2014/main" id="{8C34AE6C-4634-4DA9-AE06-0C41D0BCA5F2}"/>
              </a:ext>
              <a:ext uri="{C183D7F6-B498-43B3-948B-1728B52AA6E4}">
                <adec:decorative xmlns:adec="http://schemas.microsoft.com/office/drawing/2017/decorative" val="0"/>
              </a:ext>
            </a:extLst>
          </p:cNvPr>
          <p:cNvSpPr>
            <a:spLocks noChangeAspect="1"/>
          </p:cNvSpPr>
          <p:nvPr/>
        </p:nvSpPr>
        <p:spPr>
          <a:xfrm>
            <a:off x="6474555" y="3739392"/>
            <a:ext cx="1040348" cy="997196"/>
          </a:xfrm>
          <a:prstGeom prst="rect">
            <a:avLst/>
          </a:prstGeom>
        </p:spPr>
        <p:txBody>
          <a:bodyPr wrap="none" lIns="0" tIns="0" rIns="0" bIns="0">
            <a:spAutoFit/>
          </a:bodyPr>
          <a:lstStyle/>
          <a:p>
            <a:pPr marL="0" marR="0" lvl="0" indent="0" algn="ctr" defTabSz="914225" rtl="0" eaLnBrk="1" fontAlgn="auto" latinLnBrk="0" hangingPunct="1">
              <a:lnSpc>
                <a:spcPct val="90000"/>
              </a:lnSpc>
              <a:spcBef>
                <a:spcPts val="0"/>
              </a:spcBef>
              <a:spcAft>
                <a:spcPts val="0"/>
              </a:spcAft>
              <a:buClrTx/>
              <a:buSzTx/>
              <a:buFontTx/>
              <a:buNone/>
              <a:tabLst/>
              <a:defRPr/>
            </a:pPr>
            <a:r>
              <a:rPr kumimoji="0" lang="en-US" sz="7200" b="1" i="0" u="none" strike="noStrike" kern="0" cap="none" spc="0" normalizeH="0" baseline="0" noProof="0">
                <a:ln>
                  <a:noFill/>
                </a:ln>
                <a:solidFill>
                  <a:srgbClr val="0078D4"/>
                </a:solidFill>
                <a:effectLst/>
                <a:uLnTx/>
                <a:uFillTx/>
                <a:latin typeface="Segoe UI"/>
                <a:ea typeface="+mn-ea"/>
                <a:cs typeface="+mn-cs"/>
              </a:rPr>
              <a:t>2x</a:t>
            </a:r>
          </a:p>
        </p:txBody>
      </p:sp>
      <p:sp>
        <p:nvSpPr>
          <p:cNvPr id="27" name="TextBox 26">
            <a:extLst>
              <a:ext uri="{FF2B5EF4-FFF2-40B4-BE49-F238E27FC236}">
                <a16:creationId xmlns:a16="http://schemas.microsoft.com/office/drawing/2014/main" id="{36EB1EAF-8C07-4E90-895A-94CCA4967F58}"/>
              </a:ext>
              <a:ext uri="{C183D7F6-B498-43B3-948B-1728B52AA6E4}">
                <adec:decorative xmlns:adec="http://schemas.microsoft.com/office/drawing/2017/decorative" val="0"/>
              </a:ext>
            </a:extLst>
          </p:cNvPr>
          <p:cNvSpPr txBox="1"/>
          <p:nvPr/>
        </p:nvSpPr>
        <p:spPr>
          <a:xfrm>
            <a:off x="7692570" y="3724709"/>
            <a:ext cx="4266019" cy="1026562"/>
          </a:xfrm>
          <a:prstGeom prst="rect">
            <a:avLst/>
          </a:prstGeom>
        </p:spPr>
        <p:txBody>
          <a:bodyPr vert="horz" wrap="square" lIns="91427" tIns="91427" rIns="91427" bIns="91427" rtlCol="0" anchor="ctr">
            <a:noAutofit/>
          </a:bodyPr>
          <a:lstStyle/>
          <a:p>
            <a:pPr marL="0" marR="0" lvl="0" indent="0" algn="l" defTabSz="914225" rtl="0"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a:ln>
                  <a:noFill/>
                </a:ln>
                <a:solidFill>
                  <a:srgbClr val="000000"/>
                </a:solidFill>
                <a:effectLst/>
                <a:uLnTx/>
                <a:uFillTx/>
                <a:latin typeface="Segoe UI"/>
                <a:ea typeface="+mn-ea"/>
                <a:cs typeface="Segoe UI" panose="020B0502040204020203" pitchFamily="34" charset="0"/>
              </a:rPr>
              <a:t>unemployment rate </a:t>
            </a:r>
          </a:p>
        </p:txBody>
      </p:sp>
      <p:sp>
        <p:nvSpPr>
          <p:cNvPr id="38" name="TextBox 37">
            <a:extLst>
              <a:ext uri="{FF2B5EF4-FFF2-40B4-BE49-F238E27FC236}">
                <a16:creationId xmlns:a16="http://schemas.microsoft.com/office/drawing/2014/main" id="{E6826A37-A77A-44F9-BB3D-5645A810DF47}"/>
              </a:ext>
            </a:extLst>
          </p:cNvPr>
          <p:cNvSpPr txBox="1"/>
          <p:nvPr/>
        </p:nvSpPr>
        <p:spPr>
          <a:xfrm>
            <a:off x="820327" y="5537200"/>
            <a:ext cx="3022493" cy="633883"/>
          </a:xfrm>
          <a:prstGeom prst="round2SameRect">
            <a:avLst>
              <a:gd name="adj1" fmla="val 22612"/>
              <a:gd name="adj2" fmla="val 0"/>
            </a:avLst>
          </a:prstGeom>
          <a:solidFill>
            <a:schemeClr val="accent2"/>
          </a:solidFill>
          <a:ln>
            <a:noFill/>
          </a:ln>
        </p:spPr>
        <p:txBody>
          <a:bodyPr wrap="square" lIns="91440" tIns="45720" rIns="91440" bIns="45720" rtlCol="0" anchor="ctr" anchorCtr="0">
            <a:noAutofit/>
          </a:bodyPr>
          <a:lstStyle/>
          <a:p>
            <a:pPr marL="0" marR="0" lvl="0" indent="0" algn="ctr" defTabSz="914225" rtl="0" eaLnBrk="1" fontAlgn="auto" latinLnBrk="0" hangingPunct="1">
              <a:lnSpc>
                <a:spcPct val="100000"/>
              </a:lnSpc>
              <a:spcBef>
                <a:spcPts val="200"/>
              </a:spcBef>
              <a:spcAft>
                <a:spcPts val="200"/>
              </a:spcAft>
              <a:buClrTx/>
              <a:buSzTx/>
              <a:buFontTx/>
              <a:buNone/>
              <a:tabLst/>
              <a:defRPr/>
            </a:pPr>
            <a:r>
              <a:rPr kumimoji="0" lang="en-US" sz="2200" b="0" i="0" u="none" strike="noStrike" kern="0" cap="none" spc="0" normalizeH="0" baseline="0" noProof="0">
                <a:ln>
                  <a:noFill/>
                </a:ln>
                <a:solidFill>
                  <a:srgbClr val="FFFFFF"/>
                </a:solidFill>
                <a:effectLst/>
                <a:uLnTx/>
                <a:uFillTx/>
                <a:latin typeface="Segoe UI Semibold"/>
                <a:ea typeface="+mn-ea"/>
                <a:cs typeface="+mn-cs"/>
              </a:rPr>
              <a:t>Permanent</a:t>
            </a:r>
          </a:p>
        </p:txBody>
      </p:sp>
      <p:sp>
        <p:nvSpPr>
          <p:cNvPr id="39" name="TextBox 38">
            <a:extLst>
              <a:ext uri="{FF2B5EF4-FFF2-40B4-BE49-F238E27FC236}">
                <a16:creationId xmlns:a16="http://schemas.microsoft.com/office/drawing/2014/main" id="{0CA5EF16-9661-4025-8056-8C0285872D77}"/>
              </a:ext>
            </a:extLst>
          </p:cNvPr>
          <p:cNvSpPr txBox="1"/>
          <p:nvPr/>
        </p:nvSpPr>
        <p:spPr>
          <a:xfrm>
            <a:off x="660400" y="6172200"/>
            <a:ext cx="3342347" cy="473709"/>
          </a:xfrm>
          <a:prstGeom prst="rect">
            <a:avLst/>
          </a:prstGeom>
          <a:solidFill>
            <a:schemeClr val="bg2">
              <a:lumMod val="90000"/>
            </a:schemeClr>
          </a:solidFill>
          <a:ln>
            <a:noFill/>
          </a:ln>
        </p:spPr>
        <p:txBody>
          <a:bodyPr wrap="square" lIns="91440" tIns="91440" rIns="91440" bIns="91440" rtlCol="0" anchor="ctr" anchorCtr="0">
            <a:noAutofit/>
          </a:bodyPr>
          <a:lstStyle/>
          <a:p>
            <a:pPr marL="0" marR="0" lvl="0" indent="0" algn="ctr" defTabSz="914225" rtl="0" eaLnBrk="1" fontAlgn="auto" latinLnBrk="0" hangingPunct="1">
              <a:lnSpc>
                <a:spcPct val="100000"/>
              </a:lnSpc>
              <a:spcBef>
                <a:spcPts val="200"/>
              </a:spcBef>
              <a:spcAft>
                <a:spcPts val="20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one arm)</a:t>
            </a:r>
          </a:p>
        </p:txBody>
      </p:sp>
      <p:pic>
        <p:nvPicPr>
          <p:cNvPr id="11" name="Graphic 10" descr="Icon representing a girl having one arm">
            <a:extLst>
              <a:ext uri="{FF2B5EF4-FFF2-40B4-BE49-F238E27FC236}">
                <a16:creationId xmlns:a16="http://schemas.microsoft.com/office/drawing/2014/main" id="{ACDDD357-877A-4DC3-976B-3F126650FB4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13659" y="6214303"/>
            <a:ext cx="173842" cy="431606"/>
          </a:xfrm>
          <a:prstGeom prst="rect">
            <a:avLst/>
          </a:prstGeom>
        </p:spPr>
      </p:pic>
      <p:sp>
        <p:nvSpPr>
          <p:cNvPr id="42" name="TextBox 41">
            <a:extLst>
              <a:ext uri="{FF2B5EF4-FFF2-40B4-BE49-F238E27FC236}">
                <a16:creationId xmlns:a16="http://schemas.microsoft.com/office/drawing/2014/main" id="{E88F9C09-03D5-489F-A3A3-EB1313F4A88E}"/>
              </a:ext>
            </a:extLst>
          </p:cNvPr>
          <p:cNvSpPr txBox="1"/>
          <p:nvPr/>
        </p:nvSpPr>
        <p:spPr>
          <a:xfrm>
            <a:off x="4584754" y="5537200"/>
            <a:ext cx="3022493" cy="633883"/>
          </a:xfrm>
          <a:prstGeom prst="round2SameRect">
            <a:avLst>
              <a:gd name="adj1" fmla="val 22612"/>
              <a:gd name="adj2" fmla="val 0"/>
            </a:avLst>
          </a:prstGeom>
          <a:solidFill>
            <a:schemeClr val="accent2"/>
          </a:solidFill>
          <a:ln>
            <a:noFill/>
          </a:ln>
        </p:spPr>
        <p:txBody>
          <a:bodyPr wrap="square" lIns="91440" tIns="45720" rIns="91440" bIns="45720" rtlCol="0" anchor="ctr" anchorCtr="0">
            <a:noAutofit/>
          </a:bodyPr>
          <a:lstStyle/>
          <a:p>
            <a:pPr marL="0" marR="0" lvl="0" indent="0" algn="ctr" defTabSz="914225" rtl="0" eaLnBrk="1" fontAlgn="auto" latinLnBrk="0" hangingPunct="1">
              <a:lnSpc>
                <a:spcPct val="100000"/>
              </a:lnSpc>
              <a:spcBef>
                <a:spcPts val="200"/>
              </a:spcBef>
              <a:spcAft>
                <a:spcPts val="200"/>
              </a:spcAft>
              <a:buClrTx/>
              <a:buSzTx/>
              <a:buFontTx/>
              <a:buNone/>
              <a:tabLst/>
              <a:defRPr/>
            </a:pPr>
            <a:r>
              <a:rPr kumimoji="0" lang="en-US" sz="2200" b="0" i="0" u="none" strike="noStrike" kern="0" cap="none" spc="0" normalizeH="0" baseline="0" noProof="0">
                <a:ln>
                  <a:noFill/>
                </a:ln>
                <a:solidFill>
                  <a:srgbClr val="FFFFFF"/>
                </a:solidFill>
                <a:effectLst/>
                <a:uLnTx/>
                <a:uFillTx/>
                <a:latin typeface="Segoe UI Semibold"/>
                <a:ea typeface="+mn-ea"/>
                <a:cs typeface="+mn-cs"/>
              </a:rPr>
              <a:t>Temporary</a:t>
            </a:r>
          </a:p>
        </p:txBody>
      </p:sp>
      <p:sp>
        <p:nvSpPr>
          <p:cNvPr id="43" name="TextBox 42">
            <a:extLst>
              <a:ext uri="{FF2B5EF4-FFF2-40B4-BE49-F238E27FC236}">
                <a16:creationId xmlns:a16="http://schemas.microsoft.com/office/drawing/2014/main" id="{8DE7C6C9-27EF-4FF9-8196-F281497DDEC3}"/>
              </a:ext>
            </a:extLst>
          </p:cNvPr>
          <p:cNvSpPr txBox="1"/>
          <p:nvPr/>
        </p:nvSpPr>
        <p:spPr>
          <a:xfrm>
            <a:off x="4424827" y="6172200"/>
            <a:ext cx="3342347" cy="473709"/>
          </a:xfrm>
          <a:prstGeom prst="rect">
            <a:avLst/>
          </a:prstGeom>
          <a:solidFill>
            <a:schemeClr val="bg2">
              <a:lumMod val="90000"/>
            </a:schemeClr>
          </a:solidFill>
          <a:ln>
            <a:noFill/>
          </a:ln>
        </p:spPr>
        <p:txBody>
          <a:bodyPr wrap="square" lIns="91440" tIns="91440" rIns="91440" bIns="91440" rtlCol="0" anchor="ctr" anchorCtr="0">
            <a:noAutofit/>
          </a:bodyPr>
          <a:lstStyle/>
          <a:p>
            <a:pPr marL="0" marR="0" lvl="0" indent="0" algn="ctr" defTabSz="914225" rtl="0" eaLnBrk="1" fontAlgn="auto" latinLnBrk="0" hangingPunct="1">
              <a:lnSpc>
                <a:spcPct val="100000"/>
              </a:lnSpc>
              <a:spcBef>
                <a:spcPts val="200"/>
              </a:spcBef>
              <a:spcAft>
                <a:spcPts val="20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arm injury)</a:t>
            </a:r>
          </a:p>
        </p:txBody>
      </p:sp>
      <p:pic>
        <p:nvPicPr>
          <p:cNvPr id="13" name="Graphic 12" descr="Icon representing a boy having an arm injury">
            <a:extLst>
              <a:ext uri="{FF2B5EF4-FFF2-40B4-BE49-F238E27FC236}">
                <a16:creationId xmlns:a16="http://schemas.microsoft.com/office/drawing/2014/main" id="{47D16253-0C1E-44FD-B8E7-D4CE847BAE4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075915" y="6220086"/>
            <a:ext cx="183340" cy="425823"/>
          </a:xfrm>
          <a:prstGeom prst="rect">
            <a:avLst/>
          </a:prstGeom>
        </p:spPr>
      </p:pic>
      <p:sp>
        <p:nvSpPr>
          <p:cNvPr id="45" name="TextBox 44">
            <a:extLst>
              <a:ext uri="{FF2B5EF4-FFF2-40B4-BE49-F238E27FC236}">
                <a16:creationId xmlns:a16="http://schemas.microsoft.com/office/drawing/2014/main" id="{74EDCD17-0E19-4B56-AEDD-870D7B4E6121}"/>
              </a:ext>
            </a:extLst>
          </p:cNvPr>
          <p:cNvSpPr txBox="1"/>
          <p:nvPr/>
        </p:nvSpPr>
        <p:spPr>
          <a:xfrm>
            <a:off x="8349180" y="5537200"/>
            <a:ext cx="3022493" cy="633883"/>
          </a:xfrm>
          <a:prstGeom prst="round2SameRect">
            <a:avLst>
              <a:gd name="adj1" fmla="val 22612"/>
              <a:gd name="adj2" fmla="val 0"/>
            </a:avLst>
          </a:prstGeom>
          <a:solidFill>
            <a:schemeClr val="accent2"/>
          </a:solidFill>
          <a:ln>
            <a:noFill/>
          </a:ln>
        </p:spPr>
        <p:txBody>
          <a:bodyPr wrap="square" lIns="91440" tIns="45720" rIns="91440" bIns="45720" rtlCol="0" anchor="ctr" anchorCtr="0">
            <a:noAutofit/>
          </a:bodyPr>
          <a:lstStyle/>
          <a:p>
            <a:pPr marL="0" marR="0" lvl="0" indent="0" algn="ctr" defTabSz="914225" rtl="0" eaLnBrk="1" fontAlgn="auto" latinLnBrk="0" hangingPunct="1">
              <a:lnSpc>
                <a:spcPct val="100000"/>
              </a:lnSpc>
              <a:spcBef>
                <a:spcPts val="200"/>
              </a:spcBef>
              <a:spcAft>
                <a:spcPts val="200"/>
              </a:spcAft>
              <a:buClrTx/>
              <a:buSzTx/>
              <a:buFontTx/>
              <a:buNone/>
              <a:tabLst/>
              <a:defRPr/>
            </a:pPr>
            <a:r>
              <a:rPr kumimoji="0" lang="en-US" sz="2200" b="0" i="0" u="none" strike="noStrike" kern="0" cap="none" spc="0" normalizeH="0" baseline="0" noProof="0">
                <a:ln>
                  <a:noFill/>
                </a:ln>
                <a:solidFill>
                  <a:srgbClr val="FFFFFF"/>
                </a:solidFill>
                <a:effectLst/>
                <a:uLnTx/>
                <a:uFillTx/>
                <a:latin typeface="Segoe UI Semibold"/>
                <a:ea typeface="+mn-ea"/>
                <a:cs typeface="+mn-cs"/>
              </a:rPr>
              <a:t>Situational</a:t>
            </a:r>
          </a:p>
        </p:txBody>
      </p:sp>
      <p:sp>
        <p:nvSpPr>
          <p:cNvPr id="46" name="TextBox 45">
            <a:extLst>
              <a:ext uri="{FF2B5EF4-FFF2-40B4-BE49-F238E27FC236}">
                <a16:creationId xmlns:a16="http://schemas.microsoft.com/office/drawing/2014/main" id="{5BE61627-BDB3-411B-AE4A-9E863D827D54}"/>
              </a:ext>
            </a:extLst>
          </p:cNvPr>
          <p:cNvSpPr txBox="1"/>
          <p:nvPr/>
        </p:nvSpPr>
        <p:spPr>
          <a:xfrm>
            <a:off x="8189253" y="6172200"/>
            <a:ext cx="3342347" cy="473709"/>
          </a:xfrm>
          <a:prstGeom prst="rect">
            <a:avLst/>
          </a:prstGeom>
          <a:solidFill>
            <a:schemeClr val="bg2">
              <a:lumMod val="90000"/>
            </a:schemeClr>
          </a:solidFill>
          <a:ln>
            <a:noFill/>
          </a:ln>
        </p:spPr>
        <p:txBody>
          <a:bodyPr wrap="square" lIns="91440" tIns="91440" rIns="91440" bIns="91440" rtlCol="0" anchor="ctr" anchorCtr="0">
            <a:noAutofit/>
          </a:bodyPr>
          <a:lstStyle/>
          <a:p>
            <a:pPr marL="0" marR="0" lvl="0" indent="0" algn="ctr" defTabSz="914225" rtl="0" eaLnBrk="1" fontAlgn="auto" latinLnBrk="0" hangingPunct="1">
              <a:lnSpc>
                <a:spcPct val="100000"/>
              </a:lnSpc>
              <a:spcBef>
                <a:spcPts val="200"/>
              </a:spcBef>
              <a:spcAft>
                <a:spcPts val="200"/>
              </a:spcAft>
              <a:buClrTx/>
              <a:buSzTx/>
              <a:buFontTx/>
              <a:buNone/>
              <a:tabLst/>
              <a:defRPr/>
            </a:pPr>
            <a:r>
              <a:rPr kumimoji="0" lang="en-US" sz="2000" b="0" i="0" u="none" strike="noStrike" kern="0" cap="none" spc="0" normalizeH="0" baseline="0" noProof="0">
                <a:ln>
                  <a:noFill/>
                </a:ln>
                <a:solidFill>
                  <a:srgbClr val="000000"/>
                </a:solidFill>
                <a:effectLst/>
                <a:uLnTx/>
                <a:uFillTx/>
                <a:latin typeface="Segoe UI"/>
                <a:ea typeface="+mn-ea"/>
                <a:cs typeface="+mn-cs"/>
              </a:rPr>
              <a:t>(new parent)</a:t>
            </a:r>
          </a:p>
        </p:txBody>
      </p:sp>
      <p:pic>
        <p:nvPicPr>
          <p:cNvPr id="9" name="Graphic 8" descr="Icon representing a new parent">
            <a:extLst>
              <a:ext uri="{FF2B5EF4-FFF2-40B4-BE49-F238E27FC236}">
                <a16:creationId xmlns:a16="http://schemas.microsoft.com/office/drawing/2014/main" id="{C22491A8-196B-4ECF-AE38-6B02947954C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64717" y="6214172"/>
            <a:ext cx="183340" cy="431737"/>
          </a:xfrm>
          <a:prstGeom prst="rect">
            <a:avLst/>
          </a:prstGeom>
        </p:spPr>
      </p:pic>
      <p:sp>
        <p:nvSpPr>
          <p:cNvPr id="37" name="Rectangle 36">
            <a:extLst>
              <a:ext uri="{FF2B5EF4-FFF2-40B4-BE49-F238E27FC236}">
                <a16:creationId xmlns:a16="http://schemas.microsoft.com/office/drawing/2014/main" id="{958CB02D-172D-4B30-B648-7CCAA0C8AA9A}"/>
              </a:ext>
              <a:ext uri="{C183D7F6-B498-43B3-948B-1728B52AA6E4}">
                <adec:decorative xmlns:adec="http://schemas.microsoft.com/office/drawing/2017/decorative" val="1"/>
              </a:ext>
            </a:extLst>
          </p:cNvPr>
          <p:cNvSpPr/>
          <p:nvPr/>
        </p:nvSpPr>
        <p:spPr bwMode="auto">
          <a:xfrm>
            <a:off x="-2" y="6647026"/>
            <a:ext cx="12192001" cy="21097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76900127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1">
            <a:extLst>
              <a:ext uri="{FF2B5EF4-FFF2-40B4-BE49-F238E27FC236}">
                <a16:creationId xmlns:a16="http://schemas.microsoft.com/office/drawing/2014/main" id="{F5342A67-91C5-0543-AFFA-4E1A3D092BD8}"/>
              </a:ext>
            </a:extLst>
          </p:cNvPr>
          <p:cNvSpPr>
            <a:spLocks noGrp="1"/>
          </p:cNvSpPr>
          <p:nvPr>
            <p:ph type="title"/>
          </p:nvPr>
        </p:nvSpPr>
        <p:spPr>
          <a:xfrm>
            <a:off x="588263" y="457200"/>
            <a:ext cx="5754479" cy="1107996"/>
          </a:xfrm>
        </p:spPr>
        <p:txBody>
          <a:bodyPr/>
          <a:lstStyle/>
          <a:p>
            <a:r>
              <a:rPr lang="en-US"/>
              <a:t>If you don’t design for accessibility</a:t>
            </a:r>
          </a:p>
        </p:txBody>
      </p:sp>
      <p:sp>
        <p:nvSpPr>
          <p:cNvPr id="17" name="TextBox 16" descr="Quotation mark">
            <a:extLst>
              <a:ext uri="{FF2B5EF4-FFF2-40B4-BE49-F238E27FC236}">
                <a16:creationId xmlns:a16="http://schemas.microsoft.com/office/drawing/2014/main" id="{749DD119-05AB-4B5E-9ACC-5A8CC2E719D2}"/>
              </a:ext>
              <a:ext uri="{C183D7F6-B498-43B3-948B-1728B52AA6E4}">
                <adec:decorative xmlns:adec="http://schemas.microsoft.com/office/drawing/2017/decorative" val="0"/>
              </a:ext>
            </a:extLst>
          </p:cNvPr>
          <p:cNvSpPr txBox="1"/>
          <p:nvPr/>
        </p:nvSpPr>
        <p:spPr>
          <a:xfrm>
            <a:off x="588263" y="2271759"/>
            <a:ext cx="684516" cy="580802"/>
          </a:xfrm>
          <a:custGeom>
            <a:avLst/>
            <a:gdLst>
              <a:gd name="connsiteX0" fmla="*/ 570430 w 684516"/>
              <a:gd name="connsiteY0" fmla="*/ 0 h 580802"/>
              <a:gd name="connsiteX1" fmla="*/ 672070 w 684516"/>
              <a:gd name="connsiteY1" fmla="*/ 79860 h 580802"/>
              <a:gd name="connsiteX2" fmla="*/ 615546 w 684516"/>
              <a:gd name="connsiteY2" fmla="*/ 176315 h 580802"/>
              <a:gd name="connsiteX3" fmla="*/ 579765 w 684516"/>
              <a:gd name="connsiteY3" fmla="*/ 284178 h 580802"/>
              <a:gd name="connsiteX4" fmla="*/ 684516 w 684516"/>
              <a:gd name="connsiteY4" fmla="*/ 284178 h 580802"/>
              <a:gd name="connsiteX5" fmla="*/ 684516 w 684516"/>
              <a:gd name="connsiteY5" fmla="*/ 580802 h 580802"/>
              <a:gd name="connsiteX6" fmla="*/ 423155 w 684516"/>
              <a:gd name="connsiteY6" fmla="*/ 580802 h 580802"/>
              <a:gd name="connsiteX7" fmla="*/ 423155 w 684516"/>
              <a:gd name="connsiteY7" fmla="*/ 436898 h 580802"/>
              <a:gd name="connsiteX8" fmla="*/ 456344 w 684516"/>
              <a:gd name="connsiteY8" fmla="*/ 202406 h 580802"/>
              <a:gd name="connsiteX9" fmla="*/ 570430 w 684516"/>
              <a:gd name="connsiteY9" fmla="*/ 0 h 580802"/>
              <a:gd name="connsiteX10" fmla="*/ 147275 w 684516"/>
              <a:gd name="connsiteY10" fmla="*/ 0 h 580802"/>
              <a:gd name="connsiteX11" fmla="*/ 248915 w 684516"/>
              <a:gd name="connsiteY11" fmla="*/ 79860 h 580802"/>
              <a:gd name="connsiteX12" fmla="*/ 192390 w 684516"/>
              <a:gd name="connsiteY12" fmla="*/ 176315 h 580802"/>
              <a:gd name="connsiteX13" fmla="*/ 156609 w 684516"/>
              <a:gd name="connsiteY13" fmla="*/ 284178 h 580802"/>
              <a:gd name="connsiteX14" fmla="*/ 261361 w 684516"/>
              <a:gd name="connsiteY14" fmla="*/ 284178 h 580802"/>
              <a:gd name="connsiteX15" fmla="*/ 261361 w 684516"/>
              <a:gd name="connsiteY15" fmla="*/ 580802 h 580802"/>
              <a:gd name="connsiteX16" fmla="*/ 0 w 684516"/>
              <a:gd name="connsiteY16" fmla="*/ 580802 h 580802"/>
              <a:gd name="connsiteX17" fmla="*/ 0 w 684516"/>
              <a:gd name="connsiteY17" fmla="*/ 436898 h 580802"/>
              <a:gd name="connsiteX18" fmla="*/ 33707 w 684516"/>
              <a:gd name="connsiteY18" fmla="*/ 202406 h 580802"/>
              <a:gd name="connsiteX19" fmla="*/ 147275 w 684516"/>
              <a:gd name="connsiteY19" fmla="*/ 0 h 580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84516" h="580802">
                <a:moveTo>
                  <a:pt x="570430" y="0"/>
                </a:moveTo>
                <a:lnTo>
                  <a:pt x="672070" y="79860"/>
                </a:lnTo>
                <a:cubicBezTo>
                  <a:pt x="646488" y="117197"/>
                  <a:pt x="627646" y="149349"/>
                  <a:pt x="615546" y="176315"/>
                </a:cubicBezTo>
                <a:cubicBezTo>
                  <a:pt x="603446" y="203281"/>
                  <a:pt x="591519" y="239235"/>
                  <a:pt x="579765" y="284178"/>
                </a:cubicBezTo>
                <a:lnTo>
                  <a:pt x="684516" y="284178"/>
                </a:lnTo>
                <a:lnTo>
                  <a:pt x="684516" y="580802"/>
                </a:lnTo>
                <a:lnTo>
                  <a:pt x="423155" y="580802"/>
                </a:lnTo>
                <a:lnTo>
                  <a:pt x="423155" y="436898"/>
                </a:lnTo>
                <a:cubicBezTo>
                  <a:pt x="423155" y="346482"/>
                  <a:pt x="434218" y="268318"/>
                  <a:pt x="456344" y="202406"/>
                </a:cubicBezTo>
                <a:cubicBezTo>
                  <a:pt x="478470" y="136493"/>
                  <a:pt x="516499" y="69024"/>
                  <a:pt x="570430" y="0"/>
                </a:cubicBezTo>
                <a:close/>
                <a:moveTo>
                  <a:pt x="147275" y="0"/>
                </a:moveTo>
                <a:lnTo>
                  <a:pt x="248915" y="79860"/>
                </a:lnTo>
                <a:cubicBezTo>
                  <a:pt x="223332" y="117197"/>
                  <a:pt x="204490" y="149349"/>
                  <a:pt x="192390" y="176315"/>
                </a:cubicBezTo>
                <a:cubicBezTo>
                  <a:pt x="180290" y="203281"/>
                  <a:pt x="168363" y="239235"/>
                  <a:pt x="156609" y="284178"/>
                </a:cubicBezTo>
                <a:lnTo>
                  <a:pt x="261361" y="284178"/>
                </a:lnTo>
                <a:lnTo>
                  <a:pt x="261361" y="580802"/>
                </a:lnTo>
                <a:lnTo>
                  <a:pt x="0" y="580802"/>
                </a:lnTo>
                <a:lnTo>
                  <a:pt x="0" y="436898"/>
                </a:lnTo>
                <a:cubicBezTo>
                  <a:pt x="0" y="346482"/>
                  <a:pt x="11236" y="268318"/>
                  <a:pt x="33707" y="202406"/>
                </a:cubicBezTo>
                <a:cubicBezTo>
                  <a:pt x="56179" y="136493"/>
                  <a:pt x="94034" y="69024"/>
                  <a:pt x="147275" y="0"/>
                </a:cubicBezTo>
                <a:close/>
              </a:path>
            </a:pathLst>
          </a:custGeom>
          <a:solidFill>
            <a:schemeClr val="accent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700" b="1" i="0" u="none" strike="noStrike" kern="1200" cap="none" spc="-300" normalizeH="0" baseline="0" noProof="0">
              <a:ln>
                <a:noFill/>
              </a:ln>
              <a:solidFill>
                <a:srgbClr val="0078D4"/>
              </a:solidFill>
              <a:effectLst/>
              <a:uLnTx/>
              <a:uFillTx/>
              <a:latin typeface="Century Gothic" panose="020B0502020202020204" pitchFamily="34" charset="0"/>
              <a:ea typeface="+mn-ea"/>
              <a:cs typeface="+mn-cs"/>
            </a:endParaRPr>
          </a:p>
        </p:txBody>
      </p:sp>
      <p:sp>
        <p:nvSpPr>
          <p:cNvPr id="14" name="Text Placeholder 3">
            <a:extLst>
              <a:ext uri="{FF2B5EF4-FFF2-40B4-BE49-F238E27FC236}">
                <a16:creationId xmlns:a16="http://schemas.microsoft.com/office/drawing/2014/main" id="{1AF3613D-B1CF-4832-92FC-92AE14AD9508}"/>
              </a:ext>
            </a:extLst>
          </p:cNvPr>
          <p:cNvSpPr txBox="1">
            <a:spLocks/>
          </p:cNvSpPr>
          <p:nvPr/>
        </p:nvSpPr>
        <p:spPr>
          <a:xfrm>
            <a:off x="588263" y="3070382"/>
            <a:ext cx="5489392" cy="2708434"/>
          </a:xfrm>
          <a:prstGeom prst="rect">
            <a:avLst/>
          </a:prstGeom>
          <a:noFill/>
        </p:spPr>
        <p:txBody>
          <a:bodyPr vert="horz" wrap="square" lIns="0" tIns="0" rIns="0" bIns="0" rtlCol="0" anchor="t" anchorCtr="0">
            <a:spAutoFit/>
          </a:bodyPr>
          <a:lstStyle>
            <a:lvl1pPr marL="287227" marR="0" indent="-287227" algn="l" defTabSz="932384" rtl="0" eaLnBrk="1" fontAlgn="auto" latinLnBrk="0" hangingPunct="1">
              <a:lnSpc>
                <a:spcPct val="90000"/>
              </a:lnSpc>
              <a:spcBef>
                <a:spcPts val="1224"/>
              </a:spcBef>
              <a:spcAft>
                <a:spcPts val="0"/>
              </a:spcAft>
              <a:buClr>
                <a:schemeClr val="tx1"/>
              </a:buClr>
              <a:buSzPct val="90000"/>
              <a:buFont typeface="Arial" pitchFamily="34" charset="0"/>
              <a:buChar char="•"/>
              <a:tabLst/>
              <a:defRPr sz="3198" kern="1200" spc="0" baseline="0">
                <a:gradFill>
                  <a:gsLst>
                    <a:gs pos="1250">
                      <a:schemeClr val="tx1"/>
                    </a:gs>
                    <a:gs pos="100000">
                      <a:schemeClr val="tx1"/>
                    </a:gs>
                  </a:gsLst>
                  <a:lin ang="5400000" scaled="0"/>
                </a:gradFill>
                <a:latin typeface="+mj-lt"/>
                <a:ea typeface="+mn-ea"/>
                <a:cs typeface="+mn-cs"/>
              </a:defRPr>
            </a:lvl1pPr>
            <a:lvl2pPr marL="530962" marR="0" indent="-233105"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699316" marR="0" indent="-168355"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880619" marR="0" indent="-181305"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048973" marR="0" indent="-168355"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795" marR="0" lvl="0" indent="-10795" algn="l" defTabSz="914016" rtl="0" eaLnBrk="1" fontAlgn="auto" latinLnBrk="0" hangingPunct="1">
              <a:lnSpc>
                <a:spcPct val="100000"/>
              </a:lnSpc>
              <a:spcBef>
                <a:spcPts val="0"/>
              </a:spcBef>
              <a:spcAft>
                <a:spcPts val="0"/>
              </a:spcAft>
              <a:buClr>
                <a:srgbClr val="353535"/>
              </a:buClr>
              <a:buSzPct val="90000"/>
              <a:buFont typeface="Arial" pitchFamily="34" charset="0"/>
              <a:buNone/>
              <a:tabLst/>
              <a:defRPr/>
            </a:pPr>
            <a:r>
              <a:rPr kumimoji="0" lang="en-US" sz="2800" b="0" i="0" u="none" strike="noStrike" kern="1200" cap="none" spc="0" normalizeH="0" baseline="0" noProof="0">
                <a:ln>
                  <a:noFill/>
                </a:ln>
                <a:solidFill>
                  <a:srgbClr val="000000"/>
                </a:solidFill>
                <a:effectLst/>
                <a:uLnTx/>
                <a:uFillTx/>
                <a:latin typeface="Segoe UI"/>
                <a:ea typeface="+mn-ea"/>
                <a:cs typeface="Segoe UI"/>
              </a:rPr>
              <a:t>It’s like saying to every fifth person who walks in your door… ‘I don’t really want your business.’</a:t>
            </a:r>
            <a:endParaRPr kumimoji="0" lang="en-US" sz="3150" b="0" i="0" u="none" strike="noStrike" kern="1200" cap="none" spc="0" normalizeH="0" baseline="0" noProof="0">
              <a:ln>
                <a:noFill/>
              </a:ln>
              <a:solidFill>
                <a:srgbClr val="000000"/>
              </a:solidFill>
              <a:effectLst/>
              <a:uLnTx/>
              <a:uFillTx/>
              <a:latin typeface="Segoe UI Semibold"/>
              <a:ea typeface="+mn-ea"/>
              <a:cs typeface="Segoe UI Semibold"/>
            </a:endParaRPr>
          </a:p>
          <a:p>
            <a:pPr marL="10795" marR="0" lvl="0" indent="-10795" algn="l" defTabSz="914016" rtl="0" eaLnBrk="1" fontAlgn="auto" latinLnBrk="0" hangingPunct="1">
              <a:lnSpc>
                <a:spcPct val="100000"/>
              </a:lnSpc>
              <a:spcBef>
                <a:spcPts val="0"/>
              </a:spcBef>
              <a:spcAft>
                <a:spcPts val="0"/>
              </a:spcAft>
              <a:buClr>
                <a:srgbClr val="353535"/>
              </a:buClr>
              <a:buSzPct val="90000"/>
              <a:buFont typeface="Arial" pitchFamily="34" charset="0"/>
              <a:buNone/>
              <a:tabLst/>
              <a:defRPr/>
            </a:pPr>
            <a:endParaRPr kumimoji="0" lang="en-US" sz="2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a:p>
            <a:pPr marL="10795" marR="0" lvl="0" indent="-10795" algn="l" defTabSz="914016" rtl="0" eaLnBrk="1" fontAlgn="auto" latinLnBrk="0" hangingPunct="1">
              <a:lnSpc>
                <a:spcPct val="100000"/>
              </a:lnSpc>
              <a:spcBef>
                <a:spcPts val="0"/>
              </a:spcBef>
              <a:spcAft>
                <a:spcPts val="0"/>
              </a:spcAft>
              <a:buClr>
                <a:srgbClr val="353535"/>
              </a:buClr>
              <a:buSzPct val="90000"/>
              <a:buFont typeface="Arial" pitchFamily="34" charset="0"/>
              <a:buNone/>
              <a:tabLst/>
              <a:defRPr/>
            </a:pPr>
            <a:r>
              <a:rPr kumimoji="0" lang="en-US" sz="2400" b="0" i="0" u="none" strike="noStrike" kern="1200" cap="none" spc="0" normalizeH="0" baseline="0" noProof="0">
                <a:ln>
                  <a:noFill/>
                </a:ln>
                <a:solidFill>
                  <a:srgbClr val="000000">
                    <a:lumMod val="65000"/>
                    <a:lumOff val="35000"/>
                  </a:srgbClr>
                </a:solidFill>
                <a:effectLst/>
                <a:uLnTx/>
                <a:uFillTx/>
                <a:latin typeface="Segoe UI Semibold"/>
                <a:ea typeface="+mn-ea"/>
                <a:cs typeface="Segoe UI Semibold" panose="020B0502040204020203" pitchFamily="34" charset="0"/>
              </a:rPr>
              <a:t>Bert Floyd,</a:t>
            </a:r>
            <a:br>
              <a:rPr kumimoji="0" lang="en-US" sz="2000" b="1" i="0" u="none" strike="noStrike" kern="1200" cap="none" spc="0" normalizeH="0" baseline="0" noProof="0">
                <a:ln>
                  <a:noFill/>
                </a:ln>
                <a:solidFill>
                  <a:srgbClr val="000000">
                    <a:lumMod val="65000"/>
                    <a:lumOff val="35000"/>
                  </a:srgbClr>
                </a:solidFill>
                <a:effectLst/>
                <a:uLnTx/>
                <a:uFillTx/>
                <a:latin typeface="Segoe UI"/>
                <a:ea typeface="+mn-ea"/>
                <a:cs typeface="Segoe UI Semibold" panose="020B0502040204020203" pitchFamily="34" charset="0"/>
              </a:rPr>
            </a:br>
            <a:r>
              <a:rPr kumimoji="0" lang="en-US" sz="2000" b="0" i="1" u="none" strike="noStrike" kern="1200" cap="none" spc="0" normalizeH="0" baseline="0" noProof="0">
                <a:ln>
                  <a:noFill/>
                </a:ln>
                <a:solidFill>
                  <a:srgbClr val="000000">
                    <a:lumMod val="65000"/>
                    <a:lumOff val="35000"/>
                  </a:srgbClr>
                </a:solidFill>
                <a:effectLst/>
                <a:uLnTx/>
                <a:uFillTx/>
                <a:latin typeface="Segoe UI"/>
                <a:ea typeface="+mn-ea"/>
                <a:cs typeface="Segoe UI Semibold" panose="020B0502040204020203" pitchFamily="34" charset="0"/>
              </a:rPr>
              <a:t>Team Lead of Assistive Technologies,</a:t>
            </a:r>
            <a:br>
              <a:rPr kumimoji="0" lang="en-US" sz="2000" b="0" i="1" u="none" strike="noStrike" kern="1200" cap="none" spc="0" normalizeH="0" baseline="0" noProof="0">
                <a:ln>
                  <a:noFill/>
                </a:ln>
                <a:solidFill>
                  <a:srgbClr val="000000">
                    <a:lumMod val="65000"/>
                    <a:lumOff val="35000"/>
                  </a:srgbClr>
                </a:solidFill>
                <a:effectLst/>
                <a:uLnTx/>
                <a:uFillTx/>
                <a:latin typeface="Segoe UI"/>
                <a:ea typeface="+mn-ea"/>
                <a:cs typeface="Segoe UI Semibold" panose="020B0502040204020203" pitchFamily="34" charset="0"/>
              </a:rPr>
            </a:br>
            <a:r>
              <a:rPr kumimoji="0" lang="en-US" sz="2000" b="0" i="1" u="none" strike="noStrike" kern="1200" cap="none" spc="0" normalizeH="0" baseline="0" noProof="0">
                <a:ln>
                  <a:noFill/>
                </a:ln>
                <a:solidFill>
                  <a:srgbClr val="000000">
                    <a:lumMod val="65000"/>
                    <a:lumOff val="35000"/>
                  </a:srgbClr>
                </a:solidFill>
                <a:effectLst/>
                <a:uLnTx/>
                <a:uFillTx/>
                <a:latin typeface="Segoe UI"/>
                <a:ea typeface="+mn-ea"/>
                <a:cs typeface="Segoe UI Semibold" panose="020B0502040204020203" pitchFamily="34" charset="0"/>
              </a:rPr>
              <a:t>TD Bank, Canada</a:t>
            </a:r>
            <a:endParaRPr kumimoji="0" lang="en-US" sz="1800" b="0" i="1" u="none" strike="noStrike" kern="1200" cap="none" spc="0" normalizeH="0" baseline="0" noProof="0">
              <a:ln>
                <a:noFill/>
              </a:ln>
              <a:solidFill>
                <a:srgbClr val="000000">
                  <a:lumMod val="65000"/>
                  <a:lumOff val="35000"/>
                </a:srgbClr>
              </a:solidFill>
              <a:effectLst/>
              <a:uLnTx/>
              <a:uFillTx/>
              <a:latin typeface="Segoe UI"/>
              <a:ea typeface="+mn-ea"/>
              <a:cs typeface="Segoe UI Semibold" panose="020B0502040204020203" pitchFamily="34" charset="0"/>
            </a:endParaRPr>
          </a:p>
        </p:txBody>
      </p:sp>
      <p:pic>
        <p:nvPicPr>
          <p:cNvPr id="2" name="Picture 2" descr="A man who uses a wheelchair, moves through an outdoor ramp.">
            <a:extLst>
              <a:ext uri="{FF2B5EF4-FFF2-40B4-BE49-F238E27FC236}">
                <a16:creationId xmlns:a16="http://schemas.microsoft.com/office/drawing/2014/main" id="{CB53F8A3-3820-4368-85C6-B571D169CE12}"/>
              </a:ext>
            </a:extLst>
          </p:cNvPr>
          <p:cNvPicPr>
            <a:picLocks noChangeAspect="1"/>
          </p:cNvPicPr>
          <p:nvPr/>
        </p:nvPicPr>
        <p:blipFill rotWithShape="1">
          <a:blip r:embed="rId3"/>
          <a:srcRect l="8536" t="15388" r="1830" b="11136"/>
          <a:stretch/>
        </p:blipFill>
        <p:spPr>
          <a:xfrm>
            <a:off x="6591300" y="0"/>
            <a:ext cx="5600700" cy="6858001"/>
          </a:xfrm>
          <a:prstGeom prst="rect">
            <a:avLst/>
          </a:prstGeom>
        </p:spPr>
      </p:pic>
    </p:spTree>
    <p:extLst>
      <p:ext uri="{BB962C8B-B14F-4D97-AF65-F5344CB8AC3E}">
        <p14:creationId xmlns:p14="http://schemas.microsoft.com/office/powerpoint/2010/main" val="417016415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a:extLst>
              <a:ext uri="{FF2B5EF4-FFF2-40B4-BE49-F238E27FC236}">
                <a16:creationId xmlns:a16="http://schemas.microsoft.com/office/drawing/2014/main" id="{D9CFF399-C159-46B2-A8A0-B97E699C063F}"/>
              </a:ext>
            </a:extLst>
          </p:cNvPr>
          <p:cNvSpPr>
            <a:spLocks noGrp="1"/>
          </p:cNvSpPr>
          <p:nvPr>
            <p:ph type="title"/>
          </p:nvPr>
        </p:nvSpPr>
        <p:spPr/>
        <p:txBody>
          <a:bodyPr/>
          <a:lstStyle/>
          <a:p>
            <a:r>
              <a:rPr lang="en-US"/>
              <a:t>Enabling your accessibility journey</a:t>
            </a:r>
          </a:p>
        </p:txBody>
      </p:sp>
      <p:sp>
        <p:nvSpPr>
          <p:cNvPr id="16" name="TextBox 15">
            <a:extLst>
              <a:ext uri="{FF2B5EF4-FFF2-40B4-BE49-F238E27FC236}">
                <a16:creationId xmlns:a16="http://schemas.microsoft.com/office/drawing/2014/main" id="{01200918-EF4E-4590-A5E8-9A690BF9B8F8}"/>
              </a:ext>
            </a:extLst>
          </p:cNvPr>
          <p:cNvSpPr txBox="1"/>
          <p:nvPr/>
        </p:nvSpPr>
        <p:spPr>
          <a:xfrm>
            <a:off x="588263" y="1204141"/>
            <a:ext cx="9489187" cy="369332"/>
          </a:xfrm>
          <a:prstGeom prst="rect">
            <a:avLst/>
          </a:prstGeom>
          <a:noFill/>
        </p:spPr>
        <p:txBody>
          <a:bodyPr wrap="square" lIns="0" tIns="0" rIns="0" bIns="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78D4"/>
                </a:solidFill>
                <a:effectLst/>
                <a:uLnTx/>
                <a:uFillTx/>
                <a:latin typeface="Segoe UI Semibold"/>
                <a:ea typeface="+mn-ea"/>
                <a:cs typeface="+mn-cs"/>
              </a:rPr>
              <a:t>Example criteria to assess your progress</a:t>
            </a:r>
          </a:p>
        </p:txBody>
      </p:sp>
      <p:sp>
        <p:nvSpPr>
          <p:cNvPr id="29" name="Rectangle 28">
            <a:extLst>
              <a:ext uri="{FF2B5EF4-FFF2-40B4-BE49-F238E27FC236}">
                <a16:creationId xmlns:a16="http://schemas.microsoft.com/office/drawing/2014/main" id="{40D5C3D1-EC51-4F53-857A-3CB64939DB60}"/>
              </a:ext>
              <a:ext uri="{C183D7F6-B498-43B3-948B-1728B52AA6E4}">
                <adec:decorative xmlns:adec="http://schemas.microsoft.com/office/drawing/2017/decorative" val="1"/>
              </a:ext>
            </a:extLst>
          </p:cNvPr>
          <p:cNvSpPr/>
          <p:nvPr/>
        </p:nvSpPr>
        <p:spPr bwMode="auto">
          <a:xfrm>
            <a:off x="390586" y="1827891"/>
            <a:ext cx="611420" cy="64008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5" name="Touchscreen" title="Icon of a closed hand with one finger touching a screen">
            <a:extLst>
              <a:ext uri="{FF2B5EF4-FFF2-40B4-BE49-F238E27FC236}">
                <a16:creationId xmlns:a16="http://schemas.microsoft.com/office/drawing/2014/main" id="{D517B6A2-926D-48A6-8845-37340ED6F632}"/>
              </a:ext>
            </a:extLst>
          </p:cNvPr>
          <p:cNvSpPr>
            <a:spLocks noChangeAspect="1" noEditPoints="1"/>
          </p:cNvSpPr>
          <p:nvPr/>
        </p:nvSpPr>
        <p:spPr bwMode="auto">
          <a:xfrm>
            <a:off x="492463" y="1965051"/>
            <a:ext cx="406687" cy="365760"/>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4" name="Rectangle 3">
            <a:extLst>
              <a:ext uri="{FF2B5EF4-FFF2-40B4-BE49-F238E27FC236}">
                <a16:creationId xmlns:a16="http://schemas.microsoft.com/office/drawing/2014/main" id="{B22546A9-719C-41BB-A47B-E8E1E4DB27D8}"/>
              </a:ext>
            </a:extLst>
          </p:cNvPr>
          <p:cNvSpPr/>
          <p:nvPr/>
        </p:nvSpPr>
        <p:spPr bwMode="auto">
          <a:xfrm>
            <a:off x="1002006" y="1827891"/>
            <a:ext cx="2969536" cy="6400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Getting started</a:t>
            </a:r>
          </a:p>
        </p:txBody>
      </p:sp>
      <p:sp>
        <p:nvSpPr>
          <p:cNvPr id="25" name="Rectangle 24">
            <a:extLst>
              <a:ext uri="{FF2B5EF4-FFF2-40B4-BE49-F238E27FC236}">
                <a16:creationId xmlns:a16="http://schemas.microsoft.com/office/drawing/2014/main" id="{3A6D3868-92BB-48D4-BF1D-31BFD56EECFC}"/>
              </a:ext>
            </a:extLst>
          </p:cNvPr>
          <p:cNvSpPr/>
          <p:nvPr/>
        </p:nvSpPr>
        <p:spPr bwMode="auto">
          <a:xfrm>
            <a:off x="390585" y="2531834"/>
            <a:ext cx="3566605" cy="365760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1400"/>
              </a:spcBef>
              <a:spcAft>
                <a:spcPts val="0"/>
              </a:spcAft>
              <a:buClrTx/>
              <a:buSzTx/>
              <a:buFontTx/>
              <a:buNone/>
              <a:tabLst/>
              <a:defRPr/>
            </a:pPr>
            <a:r>
              <a:rPr kumimoji="0" lang="en-US" sz="2000" b="0" i="0" u="none" strike="noStrike" kern="1200" cap="none" spc="0" normalizeH="0" baseline="0" noProof="0">
                <a:ln>
                  <a:noFill/>
                </a:ln>
                <a:solidFill>
                  <a:srgbClr val="243A5E"/>
                </a:solidFill>
                <a:effectLst/>
                <a:uLnTx/>
                <a:uFillTx/>
                <a:latin typeface="Segoe UI Semibold"/>
                <a:ea typeface="+mn-ea"/>
                <a:cs typeface="Segoe UI"/>
              </a:rPr>
              <a:t>People and culture</a:t>
            </a:r>
          </a:p>
          <a:p>
            <a:pPr marL="0" marR="0" lvl="0" indent="0" algn="l" defTabSz="932472" rtl="0" eaLnBrk="1" fontAlgn="base" latinLnBrk="0" hangingPunct="1">
              <a:lnSpc>
                <a:spcPct val="100000"/>
              </a:lnSpc>
              <a:spcBef>
                <a:spcPts val="600"/>
              </a:spcBef>
              <a:spcAft>
                <a:spcPts val="6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a:rPr>
              <a:t>Increasing representation of people with disabilities</a:t>
            </a:r>
          </a:p>
          <a:p>
            <a:pPr marL="0" marR="0" lvl="0" indent="0" algn="l" defTabSz="932472" rtl="0" eaLnBrk="1" fontAlgn="base" latinLnBrk="0" hangingPunct="1">
              <a:lnSpc>
                <a:spcPct val="100000"/>
              </a:lnSpc>
              <a:spcBef>
                <a:spcPts val="1400"/>
              </a:spcBef>
              <a:spcAft>
                <a:spcPts val="0"/>
              </a:spcAft>
              <a:buClrTx/>
              <a:buSzTx/>
              <a:buFontTx/>
              <a:buNone/>
              <a:tabLst/>
              <a:defRPr/>
            </a:pPr>
            <a:r>
              <a:rPr kumimoji="0" lang="en-US" sz="2000" b="0" i="0" u="none" strike="noStrike" kern="1200" cap="none" spc="0" normalizeH="0" baseline="0" noProof="0">
                <a:ln>
                  <a:noFill/>
                </a:ln>
                <a:solidFill>
                  <a:srgbClr val="243A5E"/>
                </a:solidFill>
                <a:effectLst/>
                <a:uLnTx/>
                <a:uFillTx/>
                <a:latin typeface="Segoe UI Semibold"/>
                <a:ea typeface="+mn-ea"/>
                <a:cs typeface="Segoe UI"/>
              </a:rPr>
              <a:t>Vision, strategy, engagement</a:t>
            </a:r>
          </a:p>
          <a:p>
            <a:pPr marL="0" marR="0" lvl="0" indent="0" algn="l" defTabSz="932472" rtl="0" eaLnBrk="1" fontAlgn="base" latinLnBrk="0" hangingPunct="1">
              <a:lnSpc>
                <a:spcPct val="100000"/>
              </a:lnSpc>
              <a:spcBef>
                <a:spcPts val="600"/>
              </a:spcBef>
              <a:spcAft>
                <a:spcPts val="6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a:rPr>
              <a:t>Establishing and implementing an accessibility strategy</a:t>
            </a:r>
          </a:p>
          <a:p>
            <a:pPr marL="0" marR="0" lvl="0" indent="0" algn="l" defTabSz="932472" rtl="0" eaLnBrk="1" fontAlgn="base" latinLnBrk="0" hangingPunct="1">
              <a:lnSpc>
                <a:spcPct val="100000"/>
              </a:lnSpc>
              <a:spcBef>
                <a:spcPts val="1400"/>
              </a:spcBef>
              <a:spcAft>
                <a:spcPts val="0"/>
              </a:spcAft>
              <a:buClrTx/>
              <a:buSzTx/>
              <a:buFontTx/>
              <a:buNone/>
              <a:tabLst/>
              <a:defRPr/>
            </a:pPr>
            <a:r>
              <a:rPr kumimoji="0" lang="en-US" sz="2000" b="0" i="0" u="none" strike="noStrike" kern="1200" cap="none" spc="0" normalizeH="0" baseline="0" noProof="0">
                <a:ln>
                  <a:noFill/>
                </a:ln>
                <a:solidFill>
                  <a:srgbClr val="243A5E"/>
                </a:solidFill>
                <a:effectLst/>
                <a:uLnTx/>
                <a:uFillTx/>
                <a:latin typeface="Segoe UI Semibold"/>
                <a:ea typeface="+mn-ea"/>
                <a:cs typeface="Segoe UI"/>
              </a:rPr>
              <a:t>Investments</a:t>
            </a:r>
          </a:p>
          <a:p>
            <a:pPr marL="0" marR="0" lvl="0" indent="0" algn="l" defTabSz="932472" rtl="0" eaLnBrk="1" fontAlgn="base" latinLnBrk="0" hangingPunct="1">
              <a:lnSpc>
                <a:spcPct val="100000"/>
              </a:lnSpc>
              <a:spcBef>
                <a:spcPts val="600"/>
              </a:spcBef>
              <a:spcAft>
                <a:spcPts val="6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a:rPr>
              <a:t>Getting right people, tools, processes, and training in place</a:t>
            </a:r>
          </a:p>
        </p:txBody>
      </p:sp>
      <p:sp>
        <p:nvSpPr>
          <p:cNvPr id="30" name="Rectangle 29">
            <a:extLst>
              <a:ext uri="{FF2B5EF4-FFF2-40B4-BE49-F238E27FC236}">
                <a16:creationId xmlns:a16="http://schemas.microsoft.com/office/drawing/2014/main" id="{8D25F9CF-3704-4A53-B040-E06EE504DCEB}"/>
              </a:ext>
              <a:ext uri="{C183D7F6-B498-43B3-948B-1728B52AA6E4}">
                <adec:decorative xmlns:adec="http://schemas.microsoft.com/office/drawing/2017/decorative" val="1"/>
              </a:ext>
            </a:extLst>
          </p:cNvPr>
          <p:cNvSpPr/>
          <p:nvPr/>
        </p:nvSpPr>
        <p:spPr bwMode="auto">
          <a:xfrm>
            <a:off x="4091495" y="1827891"/>
            <a:ext cx="610033" cy="64008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pic>
        <p:nvPicPr>
          <p:cNvPr id="3" name="Picture 2" descr="Icon of two people and a gear representing momentum">
            <a:extLst>
              <a:ext uri="{FF2B5EF4-FFF2-40B4-BE49-F238E27FC236}">
                <a16:creationId xmlns:a16="http://schemas.microsoft.com/office/drawing/2014/main" id="{2BD1FD0F-A692-4B3B-8984-AC25AAA8E66F}"/>
              </a:ext>
            </a:extLst>
          </p:cNvPr>
          <p:cNvPicPr>
            <a:picLocks noChangeAspect="1"/>
          </p:cNvPicPr>
          <p:nvPr/>
        </p:nvPicPr>
        <p:blipFill>
          <a:blip r:embed="rId3"/>
          <a:stretch>
            <a:fillRect/>
          </a:stretch>
        </p:blipFill>
        <p:spPr>
          <a:xfrm>
            <a:off x="4187269" y="1935560"/>
            <a:ext cx="435864" cy="438912"/>
          </a:xfrm>
          <a:prstGeom prst="rect">
            <a:avLst/>
          </a:prstGeom>
        </p:spPr>
      </p:pic>
      <p:sp>
        <p:nvSpPr>
          <p:cNvPr id="22" name="Rectangle 21">
            <a:extLst>
              <a:ext uri="{FF2B5EF4-FFF2-40B4-BE49-F238E27FC236}">
                <a16:creationId xmlns:a16="http://schemas.microsoft.com/office/drawing/2014/main" id="{4F289F42-75A4-4246-A869-439A14F41283}"/>
              </a:ext>
              <a:ext uri="{C183D7F6-B498-43B3-948B-1728B52AA6E4}">
                <adec:decorative xmlns:adec="http://schemas.microsoft.com/office/drawing/2017/decorative" val="0"/>
              </a:ext>
            </a:extLst>
          </p:cNvPr>
          <p:cNvSpPr/>
          <p:nvPr/>
        </p:nvSpPr>
        <p:spPr bwMode="auto">
          <a:xfrm>
            <a:off x="4701526" y="1827891"/>
            <a:ext cx="2956573" cy="6400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Building momentum</a:t>
            </a:r>
          </a:p>
        </p:txBody>
      </p:sp>
      <p:sp>
        <p:nvSpPr>
          <p:cNvPr id="26" name="Rectangle 25">
            <a:extLst>
              <a:ext uri="{FF2B5EF4-FFF2-40B4-BE49-F238E27FC236}">
                <a16:creationId xmlns:a16="http://schemas.microsoft.com/office/drawing/2014/main" id="{F01672B2-EC03-4A4B-8ABF-B2EEA99F2D75}"/>
              </a:ext>
            </a:extLst>
          </p:cNvPr>
          <p:cNvSpPr/>
          <p:nvPr/>
        </p:nvSpPr>
        <p:spPr bwMode="auto">
          <a:xfrm>
            <a:off x="4077142" y="2531834"/>
            <a:ext cx="3566605" cy="365760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1400"/>
              </a:spcBef>
              <a:spcAft>
                <a:spcPts val="0"/>
              </a:spcAft>
              <a:buClrTx/>
              <a:buSzTx/>
              <a:buFontTx/>
              <a:buNone/>
              <a:tabLst/>
              <a:defRPr/>
            </a:pPr>
            <a:r>
              <a:rPr kumimoji="0" lang="en-US" sz="2000" b="0" i="0" u="none" strike="noStrike" kern="1200" cap="none" spc="0" normalizeH="0" baseline="0" noProof="0">
                <a:ln>
                  <a:noFill/>
                </a:ln>
                <a:solidFill>
                  <a:srgbClr val="243A5E"/>
                </a:solidFill>
                <a:effectLst/>
                <a:uLnTx/>
                <a:uFillTx/>
                <a:latin typeface="Segoe UI Semibold"/>
                <a:ea typeface="+mn-ea"/>
                <a:cs typeface="Segoe UI"/>
              </a:rPr>
              <a:t>Standards</a:t>
            </a:r>
          </a:p>
          <a:p>
            <a:pPr marL="0" marR="0" lvl="0" indent="0" algn="l" defTabSz="932472" rtl="0" eaLnBrk="1" fontAlgn="base" latinLnBrk="0" hangingPunct="1">
              <a:lnSpc>
                <a:spcPct val="100000"/>
              </a:lnSpc>
              <a:spcBef>
                <a:spcPts val="600"/>
              </a:spcBef>
              <a:spcAft>
                <a:spcPts val="6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a:rPr>
              <a:t>Building towards and testing against accessibility standards</a:t>
            </a:r>
          </a:p>
          <a:p>
            <a:pPr marL="0" marR="0" lvl="0" indent="0" algn="l" defTabSz="932472" rtl="0" eaLnBrk="1" fontAlgn="base" latinLnBrk="0" hangingPunct="1">
              <a:lnSpc>
                <a:spcPct val="100000"/>
              </a:lnSpc>
              <a:spcBef>
                <a:spcPts val="1400"/>
              </a:spcBef>
              <a:spcAft>
                <a:spcPts val="0"/>
              </a:spcAft>
              <a:buClrTx/>
              <a:buSzTx/>
              <a:buFontTx/>
              <a:buNone/>
              <a:tabLst/>
              <a:defRPr/>
            </a:pPr>
            <a:r>
              <a:rPr kumimoji="0" lang="en-US" sz="2000" b="0" i="0" u="none" strike="noStrike" kern="1200" cap="none" spc="0" normalizeH="0" baseline="0" noProof="0">
                <a:ln>
                  <a:noFill/>
                </a:ln>
                <a:solidFill>
                  <a:srgbClr val="243A5E"/>
                </a:solidFill>
                <a:effectLst/>
                <a:uLnTx/>
                <a:uFillTx/>
                <a:latin typeface="Segoe UI Semibold"/>
                <a:ea typeface="+mn-ea"/>
                <a:cs typeface="Segoe UI"/>
              </a:rPr>
              <a:t>Training, support, and tools</a:t>
            </a:r>
          </a:p>
          <a:p>
            <a:pPr marL="0" marR="0" lvl="0" indent="0" algn="l" defTabSz="932472" rtl="0" eaLnBrk="1" fontAlgn="base" latinLnBrk="0" hangingPunct="1">
              <a:lnSpc>
                <a:spcPct val="100000"/>
              </a:lnSpc>
              <a:spcBef>
                <a:spcPts val="600"/>
              </a:spcBef>
              <a:spcAft>
                <a:spcPts val="6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a:rPr>
              <a:t>Putting systems in place to scale accessibility</a:t>
            </a:r>
          </a:p>
          <a:p>
            <a:pPr marL="0" marR="0" lvl="0" indent="0" algn="l" defTabSz="932472" rtl="0" eaLnBrk="1" fontAlgn="base" latinLnBrk="0" hangingPunct="1">
              <a:lnSpc>
                <a:spcPct val="100000"/>
              </a:lnSpc>
              <a:spcBef>
                <a:spcPts val="1400"/>
              </a:spcBef>
              <a:spcAft>
                <a:spcPts val="0"/>
              </a:spcAft>
              <a:buClrTx/>
              <a:buSzTx/>
              <a:buFontTx/>
              <a:buNone/>
              <a:tabLst/>
              <a:defRPr/>
            </a:pPr>
            <a:r>
              <a:rPr kumimoji="0" lang="en-US" sz="2000" b="0" i="0" u="none" strike="noStrike" kern="1200" cap="none" spc="0" normalizeH="0" baseline="0" noProof="0">
                <a:ln>
                  <a:noFill/>
                </a:ln>
                <a:solidFill>
                  <a:srgbClr val="243A5E"/>
                </a:solidFill>
                <a:effectLst/>
                <a:uLnTx/>
                <a:uFillTx/>
                <a:latin typeface="Segoe UI Semibold"/>
                <a:ea typeface="+mn-ea"/>
                <a:cs typeface="Segoe UI"/>
              </a:rPr>
              <a:t>Procurement</a:t>
            </a:r>
          </a:p>
          <a:p>
            <a:pPr marL="0" marR="0" lvl="0" indent="0" algn="l" defTabSz="932472" rtl="0" eaLnBrk="1" fontAlgn="base" latinLnBrk="0" hangingPunct="1">
              <a:lnSpc>
                <a:spcPct val="100000"/>
              </a:lnSpc>
              <a:spcBef>
                <a:spcPts val="600"/>
              </a:spcBef>
              <a:spcAft>
                <a:spcPts val="6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a:rPr>
              <a:t>Partnering with suppliers to improve ecosystem accessibility</a:t>
            </a:r>
            <a:endParaRPr kumimoji="0" lang="en-US" sz="2000" b="0" i="0" u="none" strike="noStrike" kern="1200" cap="none" spc="0" normalizeH="0" baseline="0" noProof="0">
              <a:ln>
                <a:noFill/>
              </a:ln>
              <a:solidFill>
                <a:srgbClr val="243A5E"/>
              </a:solidFill>
              <a:effectLst/>
              <a:uLnTx/>
              <a:uFillTx/>
              <a:latin typeface="Segoe UI Semibold"/>
              <a:ea typeface="+mn-ea"/>
              <a:cs typeface="Segoe UI"/>
            </a:endParaRPr>
          </a:p>
        </p:txBody>
      </p:sp>
      <p:sp>
        <p:nvSpPr>
          <p:cNvPr id="32" name="Rectangle 31">
            <a:extLst>
              <a:ext uri="{FF2B5EF4-FFF2-40B4-BE49-F238E27FC236}">
                <a16:creationId xmlns:a16="http://schemas.microsoft.com/office/drawing/2014/main" id="{41E201D3-8069-4AAC-9853-E67905FFFA83}"/>
              </a:ext>
              <a:ext uri="{C183D7F6-B498-43B3-948B-1728B52AA6E4}">
                <adec:decorative xmlns:adec="http://schemas.microsoft.com/office/drawing/2017/decorative" val="1"/>
              </a:ext>
            </a:extLst>
          </p:cNvPr>
          <p:cNvSpPr/>
          <p:nvPr/>
        </p:nvSpPr>
        <p:spPr bwMode="auto">
          <a:xfrm>
            <a:off x="7771966" y="1827891"/>
            <a:ext cx="610033" cy="64008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pic>
        <p:nvPicPr>
          <p:cNvPr id="2" name="Picture 1" descr="Icon representing innovation">
            <a:extLst>
              <a:ext uri="{FF2B5EF4-FFF2-40B4-BE49-F238E27FC236}">
                <a16:creationId xmlns:a16="http://schemas.microsoft.com/office/drawing/2014/main" id="{ED97DA94-BFB5-4789-A86D-77BADEBB4047}"/>
              </a:ext>
            </a:extLst>
          </p:cNvPr>
          <p:cNvPicPr>
            <a:picLocks noChangeAspect="1"/>
          </p:cNvPicPr>
          <p:nvPr/>
        </p:nvPicPr>
        <p:blipFill>
          <a:blip r:embed="rId4"/>
          <a:stretch>
            <a:fillRect/>
          </a:stretch>
        </p:blipFill>
        <p:spPr>
          <a:xfrm>
            <a:off x="7893089" y="1900692"/>
            <a:ext cx="377952" cy="505968"/>
          </a:xfrm>
          <a:prstGeom prst="rect">
            <a:avLst/>
          </a:prstGeom>
        </p:spPr>
      </p:pic>
      <p:sp>
        <p:nvSpPr>
          <p:cNvPr id="23" name="Rectangle 22">
            <a:extLst>
              <a:ext uri="{FF2B5EF4-FFF2-40B4-BE49-F238E27FC236}">
                <a16:creationId xmlns:a16="http://schemas.microsoft.com/office/drawing/2014/main" id="{1C68DDCC-2D73-4B97-B060-BB153C1D4ABD}"/>
              </a:ext>
            </a:extLst>
          </p:cNvPr>
          <p:cNvSpPr/>
          <p:nvPr/>
        </p:nvSpPr>
        <p:spPr bwMode="auto">
          <a:xfrm>
            <a:off x="8367647" y="1827891"/>
            <a:ext cx="3236089" cy="6400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Innovators in accessibility</a:t>
            </a:r>
          </a:p>
        </p:txBody>
      </p:sp>
      <p:sp>
        <p:nvSpPr>
          <p:cNvPr id="27" name="Rectangle 26">
            <a:extLst>
              <a:ext uri="{FF2B5EF4-FFF2-40B4-BE49-F238E27FC236}">
                <a16:creationId xmlns:a16="http://schemas.microsoft.com/office/drawing/2014/main" id="{23C5C294-73ED-463E-A266-E1D38008CA3E}"/>
              </a:ext>
            </a:extLst>
          </p:cNvPr>
          <p:cNvSpPr/>
          <p:nvPr/>
        </p:nvSpPr>
        <p:spPr bwMode="auto">
          <a:xfrm>
            <a:off x="7757615" y="2531834"/>
            <a:ext cx="3846122" cy="365760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ts val="1400"/>
              </a:spcBef>
              <a:spcAft>
                <a:spcPts val="0"/>
              </a:spcAft>
              <a:buClrTx/>
              <a:buSzTx/>
              <a:buFontTx/>
              <a:buNone/>
              <a:tabLst/>
              <a:defRPr/>
            </a:pPr>
            <a:r>
              <a:rPr kumimoji="0" lang="en-US" sz="2000" b="0" i="0" u="none" strike="noStrike" kern="1200" cap="none" spc="0" normalizeH="0" baseline="0" noProof="0">
                <a:ln>
                  <a:noFill/>
                </a:ln>
                <a:solidFill>
                  <a:srgbClr val="243A5E"/>
                </a:solidFill>
                <a:effectLst/>
                <a:uLnTx/>
                <a:uFillTx/>
                <a:latin typeface="Segoe UI Semibold"/>
                <a:ea typeface="Segoe UI" pitchFamily="34" charset="0"/>
                <a:cs typeface="Segoe UI"/>
              </a:rPr>
              <a:t>Product development lifecycle </a:t>
            </a:r>
          </a:p>
          <a:p>
            <a:pPr marL="0" marR="0" lvl="0" indent="0" algn="l" defTabSz="932472" rtl="0" eaLnBrk="1" fontAlgn="base" latinLnBrk="0" hangingPunct="1">
              <a:lnSpc>
                <a:spcPct val="100000"/>
              </a:lnSpc>
              <a:spcBef>
                <a:spcPts val="600"/>
              </a:spcBef>
              <a:spcAft>
                <a:spcPts val="6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a:rPr>
              <a:t>Embedding accessibility into planning, designing, coding, and deploying products and services</a:t>
            </a:r>
          </a:p>
          <a:p>
            <a:pPr marL="0" marR="0" lvl="0" indent="0" algn="l" defTabSz="932472" rtl="0" eaLnBrk="1" fontAlgn="base" latinLnBrk="0" hangingPunct="1">
              <a:lnSpc>
                <a:spcPct val="100000"/>
              </a:lnSpc>
              <a:spcBef>
                <a:spcPts val="1400"/>
              </a:spcBef>
              <a:spcAft>
                <a:spcPts val="0"/>
              </a:spcAft>
              <a:buClrTx/>
              <a:buSzTx/>
              <a:buFontTx/>
              <a:buNone/>
              <a:tabLst/>
              <a:defRPr/>
            </a:pPr>
            <a:r>
              <a:rPr kumimoji="0" lang="en-US" sz="2000" b="0" i="0" u="none" strike="noStrike" kern="1200" cap="none" spc="0" normalizeH="0" baseline="0" noProof="0">
                <a:ln>
                  <a:noFill/>
                </a:ln>
                <a:solidFill>
                  <a:srgbClr val="243A5E"/>
                </a:solidFill>
                <a:effectLst/>
                <a:uLnTx/>
                <a:uFillTx/>
                <a:latin typeface="Segoe UI Semibold"/>
                <a:ea typeface="Segoe UI" pitchFamily="34" charset="0"/>
                <a:cs typeface="Segoe UI"/>
              </a:rPr>
              <a:t>Sales, marketing, communications</a:t>
            </a:r>
          </a:p>
          <a:p>
            <a:pPr marL="0" marR="0" lvl="0" indent="0" algn="l" defTabSz="932472" rtl="0" eaLnBrk="1" fontAlgn="base" latinLnBrk="0" hangingPunct="1">
              <a:lnSpc>
                <a:spcPct val="100000"/>
              </a:lnSpc>
              <a:spcBef>
                <a:spcPts val="600"/>
              </a:spcBef>
              <a:spcAft>
                <a:spcPts val="6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a:rPr>
              <a:t>Effectively telling the accessibility story in an accessible way</a:t>
            </a:r>
          </a:p>
        </p:txBody>
      </p:sp>
      <p:sp>
        <p:nvSpPr>
          <p:cNvPr id="8" name="Rectangle 154">
            <a:extLst>
              <a:ext uri="{FF2B5EF4-FFF2-40B4-BE49-F238E27FC236}">
                <a16:creationId xmlns:a16="http://schemas.microsoft.com/office/drawing/2014/main" id="{68B0BA3B-E560-49F1-A35D-87135867E50B}"/>
              </a:ext>
              <a:ext uri="{C183D7F6-B498-43B3-948B-1728B52AA6E4}">
                <adec:decorative xmlns:adec="http://schemas.microsoft.com/office/drawing/2017/decorative" val="1"/>
              </a:ext>
            </a:extLst>
          </p:cNvPr>
          <p:cNvSpPr>
            <a:spLocks noChangeArrowheads="1"/>
          </p:cNvSpPr>
          <p:nvPr/>
        </p:nvSpPr>
        <p:spPr bwMode="auto">
          <a:xfrm>
            <a:off x="0" y="6583680"/>
            <a:ext cx="12192000" cy="274320"/>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6" name="Rectangle 5">
            <a:extLst>
              <a:ext uri="{FF2B5EF4-FFF2-40B4-BE49-F238E27FC236}">
                <a16:creationId xmlns:a16="http://schemas.microsoft.com/office/drawing/2014/main" id="{3B6F1E84-149E-48ED-B217-AF1807F792A0}"/>
              </a:ext>
              <a:ext uri="{C183D7F6-B498-43B3-948B-1728B52AA6E4}">
                <adec:decorative xmlns:adec="http://schemas.microsoft.com/office/drawing/2017/decorative" val="1"/>
              </a:ext>
            </a:extLst>
          </p:cNvPr>
          <p:cNvSpPr/>
          <p:nvPr/>
        </p:nvSpPr>
        <p:spPr bwMode="auto">
          <a:xfrm>
            <a:off x="208722" y="4909930"/>
            <a:ext cx="3868420" cy="1490870"/>
          </a:xfrm>
          <a:prstGeom prst="rect">
            <a:avLst/>
          </a:prstGeom>
          <a:noFill/>
          <a:ln w="762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5015001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bg>
      <p:bgPr>
        <a:gradFill>
          <a:gsLst>
            <a:gs pos="50000">
              <a:srgbClr val="EBEBEB"/>
            </a:gs>
            <a:gs pos="50000">
              <a:schemeClr val="bg1"/>
            </a:gs>
          </a:gsLst>
          <a:lin ang="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792D1A-D92F-4B58-AED1-3FCFB013BC77}"/>
              </a:ext>
            </a:extLst>
          </p:cNvPr>
          <p:cNvSpPr>
            <a:spLocks noGrp="1"/>
          </p:cNvSpPr>
          <p:nvPr>
            <p:ph type="title"/>
          </p:nvPr>
        </p:nvSpPr>
        <p:spPr/>
        <p:txBody>
          <a:bodyPr/>
          <a:lstStyle/>
          <a:p>
            <a:r>
              <a:rPr lang="en-US">
                <a:cs typeface="Segoe UI"/>
              </a:rPr>
              <a:t>Investments</a:t>
            </a:r>
          </a:p>
        </p:txBody>
      </p:sp>
      <p:pic>
        <p:nvPicPr>
          <p:cNvPr id="3" name="Picture 2" descr="Illustrations of 2 female, planning strategically towards investments">
            <a:extLst>
              <a:ext uri="{FF2B5EF4-FFF2-40B4-BE49-F238E27FC236}">
                <a16:creationId xmlns:a16="http://schemas.microsoft.com/office/drawing/2014/main" id="{CE50EDB6-B5CF-49E2-B55A-C2DB6A299929}"/>
              </a:ext>
            </a:extLst>
          </p:cNvPr>
          <p:cNvPicPr>
            <a:picLocks noChangeAspect="1"/>
          </p:cNvPicPr>
          <p:nvPr/>
        </p:nvPicPr>
        <p:blipFill>
          <a:blip r:embed="rId3"/>
          <a:stretch>
            <a:fillRect/>
          </a:stretch>
        </p:blipFill>
        <p:spPr>
          <a:xfrm>
            <a:off x="304835" y="2333244"/>
            <a:ext cx="5591556" cy="3648456"/>
          </a:xfrm>
          <a:prstGeom prst="rect">
            <a:avLst/>
          </a:prstGeom>
        </p:spPr>
      </p:pic>
      <p:sp>
        <p:nvSpPr>
          <p:cNvPr id="5" name="Rectangle 4">
            <a:extLst>
              <a:ext uri="{FF2B5EF4-FFF2-40B4-BE49-F238E27FC236}">
                <a16:creationId xmlns:a16="http://schemas.microsoft.com/office/drawing/2014/main" id="{5DEA27DC-C163-447B-8801-8BC5E991FA50}"/>
              </a:ext>
            </a:extLst>
          </p:cNvPr>
          <p:cNvSpPr/>
          <p:nvPr/>
        </p:nvSpPr>
        <p:spPr>
          <a:xfrm>
            <a:off x="6431279" y="880733"/>
            <a:ext cx="5394960" cy="2154436"/>
          </a:xfrm>
          <a:prstGeom prst="rect">
            <a:avLst/>
          </a:prstGeom>
        </p:spPr>
        <p:txBody>
          <a:bodyPr wrap="square" lIns="0" tIns="0" rIns="0" bIns="0" anchor="t">
            <a:spAutoFit/>
          </a:bodyPr>
          <a:lstStyle/>
          <a:p>
            <a:pPr marL="290513" marR="0" lvl="2" indent="-263525" algn="l" defTabSz="913927" rtl="0" eaLnBrk="1" fontAlgn="base" latinLnBrk="0" hangingPunct="1">
              <a:lnSpc>
                <a:spcPct val="100000"/>
              </a:lnSpc>
              <a:spcBef>
                <a:spcPts val="1200"/>
              </a:spcBef>
              <a:spcAft>
                <a:spcPct val="0"/>
              </a:spcAft>
              <a:buClrTx/>
              <a:buSzTx/>
              <a:buFont typeface="Arial"/>
              <a:buChar char="•"/>
              <a:tabLst/>
              <a:defRPr/>
            </a:pPr>
            <a:r>
              <a:rPr kumimoji="0" lang="en-US" sz="2000" b="0" i="0" u="none" strike="noStrike" kern="1200" cap="none" spc="0" normalizeH="0" baseline="0" noProof="0" dirty="0">
                <a:ln>
                  <a:noFill/>
                </a:ln>
                <a:solidFill>
                  <a:srgbClr val="243A5E"/>
                </a:solidFill>
                <a:effectLst/>
                <a:uLnTx/>
                <a:uFillTx/>
                <a:latin typeface="Segoe UI Semibold"/>
                <a:ea typeface="+mn-ea"/>
                <a:cs typeface="+mn-cs"/>
              </a:rPr>
              <a:t>Spend sufficient time scoping the work</a:t>
            </a:r>
          </a:p>
          <a:p>
            <a:pPr marL="290513" marR="0" lvl="2" indent="-263525" algn="l" defTabSz="913927" rtl="0" eaLnBrk="1" fontAlgn="base" latinLnBrk="0" hangingPunct="1">
              <a:lnSpc>
                <a:spcPct val="100000"/>
              </a:lnSpc>
              <a:spcBef>
                <a:spcPts val="1200"/>
              </a:spcBef>
              <a:spcAft>
                <a:spcPct val="0"/>
              </a:spcAft>
              <a:buClrTx/>
              <a:buSzTx/>
              <a:buFont typeface="Arial"/>
              <a:buChar char="•"/>
              <a:tabLst/>
              <a:defRPr/>
            </a:pPr>
            <a:r>
              <a:rPr kumimoji="0" lang="en-US" sz="2000" b="0" i="0" u="none" strike="noStrike" kern="1200" cap="none" spc="0" normalizeH="0" baseline="0" noProof="0" dirty="0">
                <a:ln>
                  <a:noFill/>
                </a:ln>
                <a:solidFill>
                  <a:srgbClr val="243A5E"/>
                </a:solidFill>
                <a:effectLst/>
                <a:uLnTx/>
                <a:uFillTx/>
                <a:latin typeface="Segoe UI Semibold"/>
                <a:ea typeface="+mn-ea"/>
                <a:cs typeface="+mn-cs"/>
              </a:rPr>
              <a:t>Collaborate across groups and departments to develop realistic forecasts</a:t>
            </a:r>
          </a:p>
          <a:p>
            <a:pPr marL="290513" marR="0" lvl="2" indent="-263525" algn="l" defTabSz="913927" rtl="0" eaLnBrk="1" fontAlgn="base" latinLnBrk="0" hangingPunct="1">
              <a:lnSpc>
                <a:spcPct val="100000"/>
              </a:lnSpc>
              <a:spcBef>
                <a:spcPts val="1200"/>
              </a:spcBef>
              <a:spcAft>
                <a:spcPct val="0"/>
              </a:spcAft>
              <a:buClrTx/>
              <a:buSzTx/>
              <a:buFont typeface="Arial"/>
              <a:buChar char="•"/>
              <a:tabLst/>
              <a:defRPr/>
            </a:pPr>
            <a:r>
              <a:rPr kumimoji="0" lang="en-US" sz="2000" b="0" i="0" u="none" strike="noStrike" kern="1200" cap="none" spc="0" normalizeH="0" baseline="0" noProof="0" dirty="0">
                <a:ln>
                  <a:noFill/>
                </a:ln>
                <a:solidFill>
                  <a:srgbClr val="243A5E"/>
                </a:solidFill>
                <a:effectLst/>
                <a:uLnTx/>
                <a:uFillTx/>
                <a:latin typeface="Segoe UI Semibold"/>
                <a:ea typeface="+mn-ea"/>
                <a:cs typeface="+mn-cs"/>
              </a:rPr>
              <a:t>Put right people, tools, processes in place so accessibility is factored into product development</a:t>
            </a:r>
          </a:p>
        </p:txBody>
      </p:sp>
      <p:sp>
        <p:nvSpPr>
          <p:cNvPr id="20" name="Rectangle 19">
            <a:extLst>
              <a:ext uri="{FF2B5EF4-FFF2-40B4-BE49-F238E27FC236}">
                <a16:creationId xmlns:a16="http://schemas.microsoft.com/office/drawing/2014/main" id="{55DD1441-E1C7-4C64-AF70-0DB9FC9C179A}"/>
              </a:ext>
            </a:extLst>
          </p:cNvPr>
          <p:cNvSpPr/>
          <p:nvPr/>
        </p:nvSpPr>
        <p:spPr>
          <a:xfrm>
            <a:off x="6431280" y="3651160"/>
            <a:ext cx="5760720" cy="2743200"/>
          </a:xfrm>
          <a:prstGeom prst="rect">
            <a:avLst/>
          </a:prstGeom>
          <a:solidFill>
            <a:schemeClr val="accent2"/>
          </a:solidFill>
        </p:spPr>
        <p:txBody>
          <a:bodyPr wrap="square" lIns="137160" tIns="91440" rIns="457200" bIns="91440" anchor="t">
            <a:noAutofit/>
          </a:bodyPr>
          <a:lstStyle/>
          <a:p>
            <a:pPr marL="0" marR="0" lvl="0" indent="0" algn="l" defTabSz="914367" rtl="0" eaLnBrk="1" fontAlgn="auto" latinLnBrk="0" hangingPunct="1">
              <a:lnSpc>
                <a:spcPct val="100000"/>
              </a:lnSpc>
              <a:spcBef>
                <a:spcPts val="120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mn-cs"/>
              </a:rPr>
              <a:t>Our learnings:</a:t>
            </a:r>
          </a:p>
          <a:p>
            <a:pPr marL="342900" marR="0" lvl="0" indent="-285750" algn="l" defTabSz="914367" rtl="0" eaLnBrk="1" fontAlgn="auto" latinLnBrk="0" hangingPunct="1">
              <a:lnSpc>
                <a:spcPct val="100000"/>
              </a:lnSpc>
              <a:spcBef>
                <a:spcPts val="40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tarting later in development process costs time and money </a:t>
            </a:r>
            <a:endParaRPr kumimoji="0" lang="en-US" sz="2000" b="0" i="0" u="none" strike="noStrike" kern="1200" cap="none" spc="0" normalizeH="0" baseline="0" noProof="0">
              <a:ln>
                <a:noFill/>
              </a:ln>
              <a:solidFill>
                <a:srgbClr val="FFFFFF"/>
              </a:solidFill>
              <a:effectLst/>
              <a:uLnTx/>
              <a:uFillTx/>
              <a:latin typeface="Segoe UI"/>
              <a:ea typeface="+mn-ea"/>
              <a:cs typeface="Segoe UI"/>
            </a:endParaRPr>
          </a:p>
          <a:p>
            <a:pPr marL="342900" marR="0" lvl="0" indent="-285750" algn="l" defTabSz="914367" rtl="0" eaLnBrk="1" fontAlgn="auto" latinLnBrk="0" hangingPunct="1">
              <a:lnSpc>
                <a:spcPct val="100000"/>
              </a:lnSpc>
              <a:spcBef>
                <a:spcPts val="40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Costs decrease as organizations improve their processes, tools, and engineering knowledge</a:t>
            </a:r>
          </a:p>
        </p:txBody>
      </p:sp>
    </p:spTree>
    <p:extLst>
      <p:ext uri="{BB962C8B-B14F-4D97-AF65-F5344CB8AC3E}">
        <p14:creationId xmlns:p14="http://schemas.microsoft.com/office/powerpoint/2010/main" val="22517070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3D01E-EC29-4A1F-B1C9-C8C528BC21F1}"/>
              </a:ext>
            </a:extLst>
          </p:cNvPr>
          <p:cNvSpPr>
            <a:spLocks noGrp="1"/>
          </p:cNvSpPr>
          <p:nvPr>
            <p:ph type="title"/>
          </p:nvPr>
        </p:nvSpPr>
        <p:spPr>
          <a:xfrm>
            <a:off x="327497" y="253855"/>
            <a:ext cx="11018520" cy="830997"/>
          </a:xfrm>
        </p:spPr>
        <p:txBody>
          <a:bodyPr lIns="91440" anchor="t">
            <a:normAutofit/>
          </a:bodyPr>
          <a:lstStyle/>
          <a:p>
            <a:r>
              <a:rPr lang="en-US" sz="4900" spc="-50" dirty="0">
                <a:ln w="3175">
                  <a:noFill/>
                </a:ln>
                <a:solidFill>
                  <a:srgbClr val="000000"/>
                </a:solidFill>
                <a:latin typeface="Segoe UI Semibold" panose="020B0502040204020203" pitchFamily="34" charset="0"/>
                <a:ea typeface="+mn-ea"/>
                <a:cs typeface="Segoe UI Semibold" panose="020B0502040204020203" pitchFamily="34" charset="0"/>
              </a:rPr>
              <a:t>Accessibility Checker</a:t>
            </a:r>
            <a:endParaRPr lang="en-US" sz="1800" dirty="0">
              <a:latin typeface="+mn-lt"/>
            </a:endParaRPr>
          </a:p>
        </p:txBody>
      </p:sp>
      <p:sp>
        <p:nvSpPr>
          <p:cNvPr id="5" name="Rectangle 4">
            <a:extLst>
              <a:ext uri="{FF2B5EF4-FFF2-40B4-BE49-F238E27FC236}">
                <a16:creationId xmlns:a16="http://schemas.microsoft.com/office/drawing/2014/main" id="{1546843C-1309-5B46-9AB7-47F0D82FAB34}"/>
              </a:ext>
            </a:extLst>
          </p:cNvPr>
          <p:cNvSpPr/>
          <p:nvPr/>
        </p:nvSpPr>
        <p:spPr>
          <a:xfrm>
            <a:off x="327497" y="934073"/>
            <a:ext cx="11642786" cy="369332"/>
          </a:xfrm>
          <a:prstGeom prst="rect">
            <a:avLst/>
          </a:prstGeom>
        </p:spPr>
        <p:txBody>
          <a:bodyPr wrap="square" lIns="9144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1A1A1A"/>
                </a:solidFill>
                <a:effectLst/>
                <a:uLnTx/>
                <a:uFillTx/>
                <a:latin typeface="Segoe UI Semilight" panose="020B0402040204020203" pitchFamily="34" charset="0"/>
                <a:ea typeface="+mn-ea"/>
                <a:cs typeface="Segoe UI" panose="020B0502040204020203" pitchFamily="34" charset="0"/>
              </a:rPr>
              <a:t>Analyzes your material and provides recommendations to help fix errors and create more accessible content.</a:t>
            </a:r>
          </a:p>
        </p:txBody>
      </p:sp>
      <p:sp>
        <p:nvSpPr>
          <p:cNvPr id="4" name="Rectangle 3">
            <a:extLst>
              <a:ext uri="{FF2B5EF4-FFF2-40B4-BE49-F238E27FC236}">
                <a16:creationId xmlns:a16="http://schemas.microsoft.com/office/drawing/2014/main" id="{09DD2D32-BA4C-4F8A-908D-F472408E8237}"/>
              </a:ext>
            </a:extLst>
          </p:cNvPr>
          <p:cNvSpPr/>
          <p:nvPr/>
        </p:nvSpPr>
        <p:spPr>
          <a:xfrm>
            <a:off x="327497" y="1743088"/>
            <a:ext cx="4671075" cy="4001095"/>
          </a:xfrm>
          <a:prstGeom prst="rect">
            <a:avLst/>
          </a:prstGeom>
        </p:spPr>
        <p:txBody>
          <a:bodyPr wrap="square" lIns="0" tIns="0" rIns="0" bIns="0" anchor="t">
            <a:noAutofit/>
          </a:bodyPr>
          <a:lstStyle/>
          <a:p>
            <a:pPr marL="100330" marR="0" lvl="0" indent="0" algn="l" defTabSz="914225" rtl="0" eaLnBrk="1" fontAlgn="auto" latinLnBrk="0" hangingPunct="1">
              <a:lnSpc>
                <a:spcPct val="100000"/>
              </a:lnSpc>
              <a:spcBef>
                <a:spcPts val="588"/>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Segoe UI"/>
              </a:rPr>
              <a:t>With the Accessibility checker I can easily improve the accessibility of my documents to make them accessible for everyone. </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a:p>
            <a:pPr marL="100330" marR="0" lvl="0" indent="0" algn="l" defTabSz="914225" rtl="0" eaLnBrk="1" fontAlgn="auto" latinLnBrk="0" hangingPunct="1">
              <a:lnSpc>
                <a:spcPct val="100000"/>
              </a:lnSpc>
              <a:spcBef>
                <a:spcPts val="588"/>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Segoe UI" panose="020B0502040204020203" pitchFamily="34" charset="0"/>
            </a:endParaRPr>
          </a:p>
          <a:p>
            <a:pPr marL="100330" marR="0" lvl="0" indent="0" algn="l" defTabSz="914225" rtl="0" eaLnBrk="1" fontAlgn="auto" latinLnBrk="0" hangingPunct="1">
              <a:lnSpc>
                <a:spcPct val="100000"/>
              </a:lnSpc>
              <a:spcBef>
                <a:spcPts val="588"/>
              </a:spcBef>
              <a:spcAft>
                <a:spcPts val="0"/>
              </a:spcAft>
              <a:buClrTx/>
              <a:buSzTx/>
              <a:buFontTx/>
              <a:buNone/>
              <a:tabLst/>
              <a:defRPr/>
            </a:pPr>
            <a:r>
              <a:rPr kumimoji="0" lang="en-US" sz="1800" b="1" i="0" u="none" strike="noStrike" kern="1200" cap="none" spc="0" normalizeH="0" baseline="0" noProof="0" dirty="0">
                <a:ln>
                  <a:noFill/>
                </a:ln>
                <a:solidFill>
                  <a:srgbClr val="0070C0"/>
                </a:solidFill>
                <a:effectLst/>
                <a:uLnTx/>
                <a:uFillTx/>
                <a:latin typeface="Segoe UI"/>
                <a:ea typeface="+mn-ea"/>
                <a:cs typeface="Segoe UI"/>
              </a:rPr>
              <a:t>Use Case</a:t>
            </a:r>
            <a:r>
              <a:rPr kumimoji="0" lang="en-US" sz="1800" b="1" i="0" u="none" strike="noStrike" kern="1200" cap="none" spc="0" normalizeH="0" baseline="0" noProof="0" dirty="0">
                <a:ln>
                  <a:noFill/>
                </a:ln>
                <a:solidFill>
                  <a:srgbClr val="505050"/>
                </a:solidFill>
                <a:effectLst/>
                <a:uLnTx/>
                <a:uFillTx/>
                <a:latin typeface="Segoe UI"/>
                <a:ea typeface="+mn-ea"/>
                <a:cs typeface="Segoe UI"/>
              </a:rPr>
              <a:t>: </a:t>
            </a:r>
            <a:r>
              <a:rPr kumimoji="0" lang="en-US" sz="1800" b="0" i="0" u="none" strike="noStrike" kern="1200" cap="none" spc="0" normalizeH="0" baseline="0" noProof="0" dirty="0">
                <a:ln>
                  <a:noFill/>
                </a:ln>
                <a:solidFill>
                  <a:srgbClr val="505050"/>
                </a:solidFill>
                <a:effectLst/>
                <a:uLnTx/>
                <a:uFillTx/>
                <a:latin typeface="Segoe UI"/>
                <a:ea typeface="+mn-ea"/>
                <a:cs typeface="+mn-cs"/>
              </a:rPr>
              <a:t>Before sending your e-mail, message or sharing your document or spreadsheet, run the Accessibility Checker to create inclusive content that everyone can read and edit.</a:t>
            </a:r>
            <a:endParaRPr kumimoji="0" lang="en-US" sz="1800" b="0" i="0" u="none" strike="noStrike" kern="1200" cap="none" spc="0" normalizeH="0" baseline="0" noProof="0" dirty="0">
              <a:ln>
                <a:noFill/>
              </a:ln>
              <a:solidFill>
                <a:srgbClr val="505050"/>
              </a:solidFill>
              <a:effectLst/>
              <a:uLnTx/>
              <a:uFillTx/>
              <a:latin typeface="Segoe UI"/>
              <a:ea typeface="+mn-ea"/>
              <a:cs typeface="Segoe UI" panose="020B0502040204020203" pitchFamily="34" charset="0"/>
            </a:endParaRPr>
          </a:p>
        </p:txBody>
      </p:sp>
      <p:grpSp>
        <p:nvGrpSpPr>
          <p:cNvPr id="10" name="Group 9">
            <a:extLst>
              <a:ext uri="{FF2B5EF4-FFF2-40B4-BE49-F238E27FC236}">
                <a16:creationId xmlns:a16="http://schemas.microsoft.com/office/drawing/2014/main" id="{38842CB0-2AE7-4A40-B89B-970094883A07}"/>
              </a:ext>
              <a:ext uri="{C183D7F6-B498-43B3-948B-1728B52AA6E4}">
                <adec:decorative xmlns:adec="http://schemas.microsoft.com/office/drawing/2017/decorative" val="1"/>
              </a:ext>
            </a:extLst>
          </p:cNvPr>
          <p:cNvGrpSpPr/>
          <p:nvPr/>
        </p:nvGrpSpPr>
        <p:grpSpPr>
          <a:xfrm>
            <a:off x="5169831" y="1503640"/>
            <a:ext cx="6861760" cy="5210962"/>
            <a:chOff x="4569387" y="1859015"/>
            <a:chExt cx="7737332" cy="5124635"/>
          </a:xfrm>
        </p:grpSpPr>
        <p:sp>
          <p:nvSpPr>
            <p:cNvPr id="13" name="Rectangle 12">
              <a:extLst>
                <a:ext uri="{FF2B5EF4-FFF2-40B4-BE49-F238E27FC236}">
                  <a16:creationId xmlns:a16="http://schemas.microsoft.com/office/drawing/2014/main" id="{DC9CB37D-7872-4EFF-ABB2-436D572B1F37}"/>
                </a:ext>
              </a:extLst>
            </p:cNvPr>
            <p:cNvSpPr/>
            <p:nvPr/>
          </p:nvSpPr>
          <p:spPr bwMode="auto">
            <a:xfrm>
              <a:off x="4762500" y="2109518"/>
              <a:ext cx="7351107" cy="4372353"/>
            </a:xfrm>
            <a:prstGeom prst="rect">
              <a:avLst/>
            </a:prstGeom>
            <a:gradFill>
              <a:gsLst>
                <a:gs pos="1000">
                  <a:schemeClr val="tx2">
                    <a:lumMod val="90000"/>
                    <a:lumOff val="10000"/>
                  </a:schemeClr>
                </a:gs>
                <a:gs pos="85000">
                  <a:schemeClr val="accent1"/>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14" name="Picture 13">
              <a:extLst>
                <a:ext uri="{FF2B5EF4-FFF2-40B4-BE49-F238E27FC236}">
                  <a16:creationId xmlns:a16="http://schemas.microsoft.com/office/drawing/2014/main" id="{FEBBA08E-B6E0-49B3-927E-007F3923113E}"/>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569387" y="1859015"/>
              <a:ext cx="7737332" cy="5124635"/>
            </a:xfrm>
            <a:prstGeom prst="rect">
              <a:avLst/>
            </a:prstGeom>
          </p:spPr>
        </p:pic>
      </p:grpSp>
      <p:pic>
        <p:nvPicPr>
          <p:cNvPr id="11" name="Picture 10" descr="Accessibility checker GIF">
            <a:extLst>
              <a:ext uri="{FF2B5EF4-FFF2-40B4-BE49-F238E27FC236}">
                <a16:creationId xmlns:a16="http://schemas.microsoft.com/office/drawing/2014/main" id="{BCBFB3CB-7875-F94B-BB0C-22838E7D6CA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41091" y="1817825"/>
            <a:ext cx="6503028" cy="4231709"/>
          </a:xfrm>
          <a:prstGeom prst="rect">
            <a:avLst/>
          </a:prstGeom>
        </p:spPr>
      </p:pic>
      <p:sp>
        <p:nvSpPr>
          <p:cNvPr id="3" name="Rectangle 2">
            <a:extLst>
              <a:ext uri="{FF2B5EF4-FFF2-40B4-BE49-F238E27FC236}">
                <a16:creationId xmlns:a16="http://schemas.microsoft.com/office/drawing/2014/main" id="{C9539256-15DA-4B3C-8040-65AAF5984E52}"/>
              </a:ext>
            </a:extLst>
          </p:cNvPr>
          <p:cNvSpPr/>
          <p:nvPr/>
        </p:nvSpPr>
        <p:spPr>
          <a:xfrm>
            <a:off x="327497" y="5611802"/>
            <a:ext cx="3075073" cy="629403"/>
          </a:xfrm>
          <a:prstGeom prst="rect">
            <a:avLst/>
          </a:prstGeom>
        </p:spPr>
        <p:txBody>
          <a:bodyPr wrap="none" lIns="91440">
            <a:spAutoFit/>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kumimoji="0" lang="en-US" sz="1800" b="1" i="0" u="none" strike="noStrike" kern="1200" cap="none" spc="0" normalizeH="0" baseline="0" noProof="0">
                <a:ln>
                  <a:noFill/>
                </a:ln>
                <a:solidFill>
                  <a:srgbClr val="505050"/>
                </a:solidFill>
                <a:effectLst/>
                <a:uLnTx/>
                <a:uFillTx/>
                <a:latin typeface="Segoe UI" panose="020B0502040204020203" pitchFamily="34" charset="0"/>
                <a:ea typeface="+mn-ea"/>
                <a:cs typeface="+mn-cs"/>
              </a:rPr>
              <a:t>Learn More:</a:t>
            </a:r>
          </a:p>
          <a:p>
            <a:pPr marL="0" marR="0" lvl="0" indent="0" algn="l" defTabSz="914367" rtl="0" eaLnBrk="1" fontAlgn="auto" latinLnBrk="0" hangingPunct="1">
              <a:lnSpc>
                <a:spcPct val="90000"/>
              </a:lnSpc>
              <a:spcBef>
                <a:spcPts val="0"/>
              </a:spcBef>
              <a:spcAft>
                <a:spcPts val="333"/>
              </a:spcAft>
              <a:buClrTx/>
              <a:buSzTx/>
              <a:buFontTx/>
              <a:buNone/>
              <a:tabLst/>
              <a:defRPr/>
            </a:pPr>
            <a:r>
              <a:rPr kumimoji="0" lang="en-US" sz="1800" b="0" i="0" u="sng" strike="noStrike" kern="1200" cap="none" spc="0" normalizeH="0" baseline="0" noProof="0">
                <a:ln>
                  <a:noFill/>
                </a:ln>
                <a:solidFill>
                  <a:srgbClr val="505050"/>
                </a:solidFill>
                <a:effectLst/>
                <a:uLnTx/>
                <a:uFillTx/>
                <a:latin typeface="Segoe UI" panose="020B0502040204020203" pitchFamily="34" charset="0"/>
                <a:ea typeface="+mn-ea"/>
                <a:cs typeface="+mn-cs"/>
                <a:hlinkClick r:id="rId6"/>
              </a:rPr>
              <a:t>aka.ms/AccessibilityChecker</a:t>
            </a:r>
            <a:endParaRPr kumimoji="0" lang="en-US" sz="1800" b="0" i="0" u="none" strike="noStrike" kern="1200" cap="none" spc="0" normalizeH="0" baseline="0" noProof="0">
              <a:ln>
                <a:noFill/>
              </a:ln>
              <a:solidFill>
                <a:srgbClr val="505050"/>
              </a:solidFill>
              <a:effectLst/>
              <a:uLnTx/>
              <a:uFillTx/>
              <a:latin typeface="Segoe UI" panose="020B0502040204020203" pitchFamily="34" charset="0"/>
              <a:ea typeface="+mn-ea"/>
              <a:cs typeface="+mn-cs"/>
            </a:endParaRPr>
          </a:p>
        </p:txBody>
      </p:sp>
    </p:spTree>
    <p:custDataLst>
      <p:tags r:id="rId1"/>
    </p:custDataLst>
    <p:extLst>
      <p:ext uri="{BB962C8B-B14F-4D97-AF65-F5344CB8AC3E}">
        <p14:creationId xmlns:p14="http://schemas.microsoft.com/office/powerpoint/2010/main" val="3549290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7">
            <a:extLst>
              <a:ext uri="{FF2B5EF4-FFF2-40B4-BE49-F238E27FC236}">
                <a16:creationId xmlns:a16="http://schemas.microsoft.com/office/drawing/2014/main" id="{C1DD1A8A-57D5-4A81-AD04-532B043C56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3" descr="Microphone with stage lights">
            <a:extLst>
              <a:ext uri="{FF2B5EF4-FFF2-40B4-BE49-F238E27FC236}">
                <a16:creationId xmlns:a16="http://schemas.microsoft.com/office/drawing/2014/main" id="{38E82F0E-71C5-4711-8295-F64BAF232A5A}"/>
              </a:ext>
            </a:extLst>
          </p:cNvPr>
          <p:cNvPicPr>
            <a:picLocks noChangeAspect="1"/>
          </p:cNvPicPr>
          <p:nvPr/>
        </p:nvPicPr>
        <p:blipFill rotWithShape="1">
          <a:blip r:embed="rId2"/>
          <a:srcRect t="5260" b="9189"/>
          <a:stretch/>
        </p:blipFill>
        <p:spPr>
          <a:xfrm>
            <a:off x="-3047" y="10"/>
            <a:ext cx="12191999" cy="6857990"/>
          </a:xfrm>
          <a:prstGeom prst="rect">
            <a:avLst/>
          </a:prstGeom>
        </p:spPr>
      </p:pic>
      <p:sp>
        <p:nvSpPr>
          <p:cNvPr id="14" name="Rectangle 9">
            <a:extLst>
              <a:ext uri="{FF2B5EF4-FFF2-40B4-BE49-F238E27FC236}">
                <a16:creationId xmlns:a16="http://schemas.microsoft.com/office/drawing/2014/main" id="{007891EC-4501-44ED-A8C8-B11B6DB767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207602"/>
            <a:ext cx="12191999" cy="3162146"/>
          </a:xfrm>
          <a:prstGeom prst="rect">
            <a:avLst/>
          </a:prstGeom>
          <a:gradFill flip="none" rotWithShape="1">
            <a:gsLst>
              <a:gs pos="0">
                <a:srgbClr val="000000">
                  <a:alpha val="0"/>
                </a:srgbClr>
              </a:gs>
              <a:gs pos="25000">
                <a:srgbClr val="000000">
                  <a:alpha val="15000"/>
                </a:srgbClr>
              </a:gs>
              <a:gs pos="75000">
                <a:srgbClr val="000000">
                  <a:alpha val="15000"/>
                </a:srgbClr>
              </a:gs>
              <a:gs pos="50000">
                <a:srgbClr val="000000">
                  <a:alpha val="30000"/>
                </a:srgbClr>
              </a:gs>
              <a:gs pos="100000">
                <a:srgbClr val="000000">
                  <a:alpha val="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9795218-DC5E-498A-ACDB-CDC8F9105D4E}"/>
              </a:ext>
            </a:extLst>
          </p:cNvPr>
          <p:cNvSpPr>
            <a:spLocks noGrp="1"/>
          </p:cNvSpPr>
          <p:nvPr>
            <p:ph type="title"/>
          </p:nvPr>
        </p:nvSpPr>
        <p:spPr>
          <a:xfrm>
            <a:off x="1097280" y="325550"/>
            <a:ext cx="10058400" cy="3574778"/>
          </a:xfrm>
          <a:effectLst>
            <a:outerShdw blurRad="50800" dist="38100" dir="2700000" algn="tl" rotWithShape="0">
              <a:prstClr val="black">
                <a:alpha val="40000"/>
              </a:prstClr>
            </a:outerShdw>
          </a:effectLst>
        </p:spPr>
        <p:txBody>
          <a:bodyPr vert="horz" lIns="91440" tIns="45720" rIns="91440" bIns="45720" rtlCol="0" anchor="b">
            <a:normAutofit/>
          </a:bodyPr>
          <a:lstStyle/>
          <a:p>
            <a:pPr algn="ctr"/>
            <a:r>
              <a:rPr lang="en-US" sz="5200">
                <a:solidFill>
                  <a:srgbClr val="FFFFFF"/>
                </a:solidFill>
              </a:rPr>
              <a:t>Demo!!!</a:t>
            </a:r>
          </a:p>
        </p:txBody>
      </p:sp>
    </p:spTree>
    <p:extLst>
      <p:ext uri="{BB962C8B-B14F-4D97-AF65-F5344CB8AC3E}">
        <p14:creationId xmlns:p14="http://schemas.microsoft.com/office/powerpoint/2010/main" val="20780376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B1EDFBFC-58C3-8645-99C3-13E90D0A55D7}"/>
              </a:ext>
            </a:extLst>
          </p:cNvPr>
          <p:cNvSpPr>
            <a:spLocks noGrp="1"/>
          </p:cNvSpPr>
          <p:nvPr>
            <p:ph type="title"/>
          </p:nvPr>
        </p:nvSpPr>
        <p:spPr>
          <a:xfrm>
            <a:off x="588963" y="457200"/>
            <a:ext cx="11017250" cy="492443"/>
          </a:xfrm>
        </p:spPr>
        <p:txBody>
          <a:bodyPr/>
          <a:lstStyle/>
          <a:p>
            <a:r>
              <a:rPr lang="en-US" sz="3200" dirty="0"/>
              <a:t>Creating excitement building accessible experiences</a:t>
            </a:r>
          </a:p>
        </p:txBody>
      </p:sp>
      <p:sp>
        <p:nvSpPr>
          <p:cNvPr id="29" name="TextBox 28">
            <a:extLst>
              <a:ext uri="{FF2B5EF4-FFF2-40B4-BE49-F238E27FC236}">
                <a16:creationId xmlns:a16="http://schemas.microsoft.com/office/drawing/2014/main" id="{89FA8CB6-D568-455C-94F3-A06828D5B449}"/>
              </a:ext>
            </a:extLst>
          </p:cNvPr>
          <p:cNvSpPr txBox="1"/>
          <p:nvPr/>
        </p:nvSpPr>
        <p:spPr>
          <a:xfrm>
            <a:off x="588263" y="1166200"/>
            <a:ext cx="11112250" cy="369332"/>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0078D4"/>
                </a:solidFill>
                <a:effectLst/>
                <a:uLnTx/>
                <a:uFillTx/>
                <a:latin typeface="Segoe UI Semibold"/>
                <a:ea typeface="+mn-ea"/>
                <a:cs typeface="Segoe UI"/>
              </a:rPr>
              <a:t>Help put accessibility principles into practice</a:t>
            </a:r>
          </a:p>
        </p:txBody>
      </p:sp>
      <p:sp>
        <p:nvSpPr>
          <p:cNvPr id="72" name="TextBox 71">
            <a:extLst>
              <a:ext uri="{FF2B5EF4-FFF2-40B4-BE49-F238E27FC236}">
                <a16:creationId xmlns:a16="http://schemas.microsoft.com/office/drawing/2014/main" id="{CA76DF21-A1CA-4A59-957F-07AC13B7F732}"/>
              </a:ext>
            </a:extLst>
          </p:cNvPr>
          <p:cNvSpPr txBox="1"/>
          <p:nvPr/>
        </p:nvSpPr>
        <p:spPr>
          <a:xfrm>
            <a:off x="642159" y="2151986"/>
            <a:ext cx="1448089" cy="307777"/>
          </a:xfrm>
          <a:prstGeom prst="rect">
            <a:avLst/>
          </a:prstGeom>
          <a:noFill/>
        </p:spPr>
        <p:txBody>
          <a:bodyPr wrap="none" lIns="0" tIns="0" rIns="0" bIns="0" rtlCol="0" anchor="ctr">
            <a:sp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effectLst/>
                <a:uLnTx/>
                <a:uFillTx/>
                <a:latin typeface="+mj-lt"/>
                <a:ea typeface="+mn-ea"/>
                <a:cs typeface="+mn-cs"/>
              </a:rPr>
              <a:t>At Microsoft</a:t>
            </a:r>
          </a:p>
        </p:txBody>
      </p:sp>
      <p:sp>
        <p:nvSpPr>
          <p:cNvPr id="87" name="Rectangle 86">
            <a:extLst>
              <a:ext uri="{FF2B5EF4-FFF2-40B4-BE49-F238E27FC236}">
                <a16:creationId xmlns:a16="http://schemas.microsoft.com/office/drawing/2014/main" id="{D6258846-5AB6-40A1-90BC-477E5E80C341}"/>
              </a:ext>
            </a:extLst>
          </p:cNvPr>
          <p:cNvSpPr/>
          <p:nvPr/>
        </p:nvSpPr>
        <p:spPr bwMode="auto">
          <a:xfrm>
            <a:off x="588963" y="2577763"/>
            <a:ext cx="1554480" cy="2834640"/>
          </a:xfrm>
          <a:prstGeom prst="rect">
            <a:avLst/>
          </a:prstGeom>
          <a:solidFill>
            <a:schemeClr val="bg2"/>
          </a:solidFill>
          <a:ln w="635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78D4"/>
                </a:solidFill>
                <a:effectLst/>
                <a:uLnTx/>
                <a:uFillTx/>
                <a:latin typeface="Segoe UI Semibold"/>
                <a:ea typeface="Segoe UI" pitchFamily="34" charset="0"/>
                <a:cs typeface="Segoe UI" pitchFamily="34" charset="0"/>
              </a:rPr>
              <a:t>Accessibility in Action Digital Badge</a:t>
            </a:r>
          </a:p>
        </p:txBody>
      </p:sp>
      <p:sp>
        <p:nvSpPr>
          <p:cNvPr id="103" name="Rectangle 102">
            <a:extLst>
              <a:ext uri="{FF2B5EF4-FFF2-40B4-BE49-F238E27FC236}">
                <a16:creationId xmlns:a16="http://schemas.microsoft.com/office/drawing/2014/main" id="{D3FA145E-8A12-4020-8890-5F357858A30D}"/>
              </a:ext>
              <a:ext uri="{C183D7F6-B498-43B3-948B-1728B52AA6E4}">
                <adec:decorative xmlns:adec="http://schemas.microsoft.com/office/drawing/2017/decorative" val="1"/>
              </a:ext>
            </a:extLst>
          </p:cNvPr>
          <p:cNvSpPr/>
          <p:nvPr/>
        </p:nvSpPr>
        <p:spPr bwMode="auto">
          <a:xfrm flipH="1">
            <a:off x="2186940" y="2577763"/>
            <a:ext cx="2842260" cy="283464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90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ea typeface="+mn-lt"/>
                <a:cs typeface="Segoe UI"/>
              </a:rPr>
              <a:t>Earners of badge have familiarized themselves</a:t>
            </a:r>
            <a:br>
              <a:rPr kumimoji="0" lang="en-US" sz="1600" b="0" i="0" u="none" strike="noStrike" kern="1200" cap="none" spc="0" normalizeH="0" baseline="0" noProof="0" dirty="0">
                <a:ln>
                  <a:noFill/>
                </a:ln>
                <a:solidFill>
                  <a:srgbClr val="000000"/>
                </a:solidFill>
                <a:effectLst/>
                <a:uLnTx/>
                <a:uFillTx/>
                <a:ea typeface="+mn-lt"/>
                <a:cs typeface="Segoe UI"/>
              </a:rPr>
            </a:br>
            <a:r>
              <a:rPr kumimoji="0" lang="en-US" sz="1600" b="0" i="0" u="none" strike="noStrike" kern="1200" cap="none" spc="0" normalizeH="0" baseline="0" noProof="0" dirty="0">
                <a:ln>
                  <a:noFill/>
                </a:ln>
                <a:solidFill>
                  <a:srgbClr val="000000"/>
                </a:solidFill>
                <a:effectLst/>
                <a:uLnTx/>
                <a:uFillTx/>
                <a:ea typeface="+mn-lt"/>
                <a:cs typeface="Segoe UI"/>
              </a:rPr>
              <a:t>with how to:</a:t>
            </a:r>
          </a:p>
          <a:p>
            <a:pPr marL="228600" marR="0" lvl="0" indent="-168275" algn="l" defTabSz="914367" rtl="0" eaLnBrk="1" fontAlgn="auto" latinLnBrk="0" hangingPunct="1">
              <a:lnSpc>
                <a:spcPct val="100000"/>
              </a:lnSpc>
              <a:spcBef>
                <a:spcPts val="200"/>
              </a:spcBef>
              <a:spcAft>
                <a:spcPts val="400"/>
              </a:spcAft>
              <a:buClrTx/>
              <a:buSzTx/>
              <a:buFont typeface="Arial"/>
              <a:buChar char="•"/>
              <a:tabLst/>
              <a:defRPr/>
            </a:pPr>
            <a:r>
              <a:rPr lang="en-US" sz="1600">
                <a:solidFill>
                  <a:srgbClr val="000000"/>
                </a:solidFill>
                <a:ea typeface="+mn-lt"/>
                <a:cs typeface="Segoe UI"/>
              </a:rPr>
              <a:t>Create</a:t>
            </a:r>
            <a:r>
              <a:rPr kumimoji="0" lang="en-US" sz="1600" b="0" i="0" u="none" strike="noStrike" kern="1200" cap="none" spc="0" normalizeH="0" baseline="0" noProof="0">
                <a:ln>
                  <a:noFill/>
                </a:ln>
                <a:solidFill>
                  <a:srgbClr val="000000"/>
                </a:solidFill>
                <a:effectLst/>
                <a:uLnTx/>
                <a:uFillTx/>
                <a:ea typeface="+mn-lt"/>
                <a:cs typeface="Segoe UI"/>
              </a:rPr>
              <a:t> an inclusive </a:t>
            </a:r>
            <a:r>
              <a:rPr kumimoji="0" lang="en-US" sz="1600" b="0" i="0" u="none" strike="noStrike" kern="1200" cap="none" spc="0" normalizeH="0" baseline="0" noProof="0" dirty="0">
                <a:ln>
                  <a:noFill/>
                </a:ln>
                <a:solidFill>
                  <a:srgbClr val="000000"/>
                </a:solidFill>
                <a:effectLst/>
                <a:uLnTx/>
                <a:uFillTx/>
                <a:ea typeface="+mn-lt"/>
                <a:cs typeface="Segoe UI"/>
              </a:rPr>
              <a:t>culture</a:t>
            </a:r>
            <a:endParaRPr kumimoji="0" lang="en-US" sz="1600" b="0" i="0" u="none" strike="noStrike" kern="1200" cap="none" spc="0" normalizeH="0" baseline="0" noProof="0" dirty="0">
              <a:ln>
                <a:noFill/>
              </a:ln>
              <a:solidFill>
                <a:srgbClr val="000000"/>
              </a:solidFill>
              <a:effectLst/>
              <a:uLnTx/>
              <a:uFillTx/>
              <a:ea typeface="+mn-ea"/>
              <a:cs typeface="Segoe UI"/>
            </a:endParaRPr>
          </a:p>
          <a:p>
            <a:pPr marL="228600" marR="0" lvl="0" indent="-168275" algn="l" defTabSz="914367" rtl="0" eaLnBrk="1" fontAlgn="auto" latinLnBrk="0" hangingPunct="1">
              <a:lnSpc>
                <a:spcPct val="100000"/>
              </a:lnSpc>
              <a:spcBef>
                <a:spcPts val="200"/>
              </a:spcBef>
              <a:spcAft>
                <a:spcPts val="400"/>
              </a:spcAft>
              <a:buClrTx/>
              <a:buSzTx/>
              <a:buFont typeface="Arial"/>
              <a:buChar char="•"/>
              <a:tabLst/>
              <a:defRPr/>
            </a:pPr>
            <a:r>
              <a:rPr lang="en-US" sz="1600">
                <a:solidFill>
                  <a:srgbClr val="000000"/>
                </a:solidFill>
                <a:ea typeface="+mn-lt"/>
                <a:cs typeface="Segoe UI"/>
              </a:rPr>
              <a:t>Implement</a:t>
            </a:r>
            <a:r>
              <a:rPr kumimoji="0" lang="en-US" sz="1600" b="0" i="0" u="none" strike="noStrike" kern="1200" cap="none" spc="0" normalizeH="0" baseline="0" noProof="0">
                <a:ln>
                  <a:noFill/>
                </a:ln>
                <a:solidFill>
                  <a:srgbClr val="000000"/>
                </a:solidFill>
                <a:effectLst/>
                <a:uLnTx/>
                <a:uFillTx/>
                <a:ea typeface="+mn-lt"/>
                <a:cs typeface="Segoe UI"/>
              </a:rPr>
              <a:t> accessibility </a:t>
            </a:r>
            <a:r>
              <a:rPr kumimoji="0" lang="en-US" sz="1600" b="0" i="0" u="none" strike="noStrike" kern="1200" cap="none" spc="0" normalizeH="0" baseline="0" noProof="0" dirty="0">
                <a:ln>
                  <a:noFill/>
                </a:ln>
                <a:solidFill>
                  <a:srgbClr val="000000"/>
                </a:solidFill>
                <a:effectLst/>
                <a:uLnTx/>
                <a:uFillTx/>
                <a:ea typeface="+mn-lt"/>
                <a:cs typeface="Segoe UI"/>
              </a:rPr>
              <a:t>best practices</a:t>
            </a:r>
            <a:endParaRPr kumimoji="0" lang="en-US" sz="1600" b="0" i="0" u="none" strike="noStrike" kern="1200" cap="none" spc="0" normalizeH="0" baseline="0" noProof="0" dirty="0">
              <a:ln>
                <a:noFill/>
              </a:ln>
              <a:solidFill>
                <a:srgbClr val="000000"/>
              </a:solidFill>
              <a:effectLst/>
              <a:uLnTx/>
              <a:uFillTx/>
              <a:ea typeface="+mn-ea"/>
              <a:cs typeface="Segoe UI"/>
            </a:endParaRPr>
          </a:p>
          <a:p>
            <a:pPr marL="228600" marR="0" lvl="0" indent="-168275" algn="l" defTabSz="914367" rtl="0" eaLnBrk="1" fontAlgn="auto" latinLnBrk="0" hangingPunct="1">
              <a:lnSpc>
                <a:spcPct val="100000"/>
              </a:lnSpc>
              <a:spcBef>
                <a:spcPts val="200"/>
              </a:spcBef>
              <a:spcAft>
                <a:spcPts val="400"/>
              </a:spcAft>
              <a:buClrTx/>
              <a:buSzTx/>
              <a:buFont typeface="Arial"/>
              <a:buChar char="•"/>
              <a:tabLst/>
              <a:defRPr/>
            </a:pPr>
            <a:r>
              <a:rPr lang="en-US" sz="1600">
                <a:solidFill>
                  <a:srgbClr val="000000"/>
                </a:solidFill>
                <a:ea typeface="+mn-lt"/>
                <a:cs typeface="Segoe UI"/>
              </a:rPr>
              <a:t>Present</a:t>
            </a:r>
            <a:r>
              <a:rPr kumimoji="0" lang="en-US" sz="1600" b="0" i="0" u="none" strike="noStrike" kern="1200" cap="none" spc="0" normalizeH="0" baseline="0" noProof="0">
                <a:ln>
                  <a:noFill/>
                </a:ln>
                <a:solidFill>
                  <a:srgbClr val="000000"/>
                </a:solidFill>
                <a:effectLst/>
                <a:uLnTx/>
                <a:uFillTx/>
                <a:ea typeface="+mn-lt"/>
                <a:cs typeface="Segoe UI"/>
              </a:rPr>
              <a:t> inclusively</a:t>
            </a:r>
            <a:endParaRPr kumimoji="0" lang="en-US" sz="1600" b="0" i="0" u="none" strike="noStrike" kern="1200" cap="none" spc="0" normalizeH="0" baseline="0" noProof="0">
              <a:ln>
                <a:noFill/>
              </a:ln>
              <a:solidFill>
                <a:srgbClr val="000000"/>
              </a:solidFill>
              <a:effectLst/>
              <a:uLnTx/>
              <a:uFillTx/>
              <a:ea typeface="+mn-ea"/>
              <a:cs typeface="Segoe UI"/>
            </a:endParaRPr>
          </a:p>
          <a:p>
            <a:pPr marL="228600" marR="0" lvl="0" indent="-168275" algn="l" defTabSz="914367" rtl="0" eaLnBrk="1" fontAlgn="auto" latinLnBrk="0" hangingPunct="1">
              <a:lnSpc>
                <a:spcPct val="100000"/>
              </a:lnSpc>
              <a:spcBef>
                <a:spcPts val="200"/>
              </a:spcBef>
              <a:spcAft>
                <a:spcPts val="400"/>
              </a:spcAft>
              <a:buClrTx/>
              <a:buSzTx/>
              <a:buFont typeface="Arial"/>
              <a:buChar char="•"/>
              <a:tabLst/>
              <a:defRPr/>
            </a:pPr>
            <a:r>
              <a:rPr lang="en-US" sz="1600">
                <a:solidFill>
                  <a:srgbClr val="000000"/>
                </a:solidFill>
                <a:ea typeface="+mn-lt"/>
                <a:cs typeface="Segoe UI"/>
              </a:rPr>
              <a:t>Host</a:t>
            </a:r>
            <a:r>
              <a:rPr kumimoji="0" lang="en-US" sz="1600" b="0" i="0" u="none" strike="noStrike" kern="1200" cap="none" spc="0" normalizeH="0" baseline="0" noProof="0">
                <a:ln>
                  <a:noFill/>
                </a:ln>
                <a:solidFill>
                  <a:srgbClr val="000000"/>
                </a:solidFill>
                <a:effectLst/>
                <a:uLnTx/>
                <a:uFillTx/>
                <a:ea typeface="+mn-lt"/>
                <a:cs typeface="Segoe UI"/>
              </a:rPr>
              <a:t> inclusive events</a:t>
            </a:r>
            <a:endParaRPr kumimoji="0" lang="en-US" sz="1600" b="0" i="0" u="none" strike="noStrike" kern="0" cap="none" spc="20" normalizeH="0" baseline="0" noProof="0">
              <a:ln>
                <a:noFill/>
              </a:ln>
              <a:solidFill>
                <a:srgbClr val="000000"/>
              </a:solidFill>
              <a:effectLst/>
              <a:uLnTx/>
              <a:uFillTx/>
              <a:ea typeface="+mn-ea"/>
              <a:cs typeface="Segoe UI" panose="020B0502040204020203" pitchFamily="34" charset="0"/>
            </a:endParaRPr>
          </a:p>
        </p:txBody>
      </p:sp>
      <p:sp>
        <p:nvSpPr>
          <p:cNvPr id="114" name="Trapezoid 97">
            <a:extLst>
              <a:ext uri="{FF2B5EF4-FFF2-40B4-BE49-F238E27FC236}">
                <a16:creationId xmlns:a16="http://schemas.microsoft.com/office/drawing/2014/main" id="{542B27EA-E3D7-470B-99F4-8916024EFAF3}"/>
              </a:ext>
              <a:ext uri="{C183D7F6-B498-43B3-948B-1728B52AA6E4}">
                <adec:decorative xmlns:adec="http://schemas.microsoft.com/office/drawing/2017/decorative" val="1"/>
              </a:ext>
            </a:extLst>
          </p:cNvPr>
          <p:cNvSpPr/>
          <p:nvPr/>
        </p:nvSpPr>
        <p:spPr bwMode="auto">
          <a:xfrm rot="16200000" flipV="1">
            <a:off x="5055131" y="2200777"/>
            <a:ext cx="1766222" cy="1809037"/>
          </a:xfrm>
          <a:prstGeom prst="parallelogram">
            <a:avLst>
              <a:gd name="adj" fmla="val 19688"/>
            </a:avLst>
          </a:prstGeom>
          <a:solidFill>
            <a:schemeClr val="bg1">
              <a:lumMod val="95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73" name="Rectangle 172">
            <a:extLst>
              <a:ext uri="{FF2B5EF4-FFF2-40B4-BE49-F238E27FC236}">
                <a16:creationId xmlns:a16="http://schemas.microsoft.com/office/drawing/2014/main" id="{C97156DD-3598-4C9E-8048-7C4D237EDBE1}"/>
              </a:ext>
            </a:extLst>
          </p:cNvPr>
          <p:cNvSpPr/>
          <p:nvPr/>
        </p:nvSpPr>
        <p:spPr bwMode="auto">
          <a:xfrm>
            <a:off x="7976917" y="1715870"/>
            <a:ext cx="1955022" cy="307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defTabSz="932472" fontAlgn="base">
              <a:spcBef>
                <a:spcPts val="600"/>
              </a:spcBef>
              <a:spcAft>
                <a:spcPct val="0"/>
              </a:spcAft>
              <a:defRPr/>
            </a:pPr>
            <a:r>
              <a:rPr lang="en-US" sz="2000" dirty="0">
                <a:solidFill>
                  <a:schemeClr val="accent2"/>
                </a:solidFill>
                <a:latin typeface="+mj-lt"/>
                <a:cs typeface="Segoe UI"/>
              </a:rPr>
              <a:t>All organizations</a:t>
            </a:r>
          </a:p>
        </p:txBody>
      </p:sp>
      <p:grpSp>
        <p:nvGrpSpPr>
          <p:cNvPr id="194" name="Group 193" descr="Accessibility Fundamentals training series">
            <a:extLst>
              <a:ext uri="{FF2B5EF4-FFF2-40B4-BE49-F238E27FC236}">
                <a16:creationId xmlns:a16="http://schemas.microsoft.com/office/drawing/2014/main" id="{8285303C-7CE0-4823-8494-5C3D79B0D5FC}"/>
              </a:ext>
            </a:extLst>
          </p:cNvPr>
          <p:cNvGrpSpPr/>
          <p:nvPr/>
        </p:nvGrpSpPr>
        <p:grpSpPr>
          <a:xfrm>
            <a:off x="6115392" y="2066115"/>
            <a:ext cx="5490822" cy="1680794"/>
            <a:chOff x="6115392" y="2066115"/>
            <a:chExt cx="5490822" cy="1680794"/>
          </a:xfrm>
        </p:grpSpPr>
        <p:sp>
          <p:nvSpPr>
            <p:cNvPr id="195" name="Rectangle 194">
              <a:extLst>
                <a:ext uri="{FF2B5EF4-FFF2-40B4-BE49-F238E27FC236}">
                  <a16:creationId xmlns:a16="http://schemas.microsoft.com/office/drawing/2014/main" id="{678A4CAC-9DCD-48EC-948F-64C2A40E8702}"/>
                </a:ext>
              </a:extLst>
            </p:cNvPr>
            <p:cNvSpPr/>
            <p:nvPr/>
          </p:nvSpPr>
          <p:spPr bwMode="auto">
            <a:xfrm>
              <a:off x="7058026" y="2083552"/>
              <a:ext cx="4548188"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mj-lt"/>
                  <a:ea typeface="Segoe UI" pitchFamily="34" charset="0"/>
                  <a:cs typeface="Segoe UI"/>
                </a:rPr>
                <a:t>Accessibility Fundamentals training series</a:t>
              </a:r>
            </a:p>
            <a:p>
              <a:pPr marL="0" marR="0" lvl="0" indent="0" algn="l" defTabSz="932472" rtl="0" eaLnBrk="1" fontAlgn="base" latinLnBrk="0" hangingPunct="1">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ea typeface="Segoe UI" pitchFamily="34" charset="0"/>
                  <a:cs typeface="Segoe UI"/>
                </a:rPr>
                <a:t>Learn how to create experiences that are accessible for people of all abilities</a:t>
              </a:r>
              <a:endParaRPr kumimoji="0" lang="en-US" sz="2000" b="0" i="0" u="none" strike="noStrike" kern="1200" cap="none" spc="0" normalizeH="0" baseline="0" noProof="0" dirty="0">
                <a:ln>
                  <a:noFill/>
                </a:ln>
                <a:solidFill>
                  <a:srgbClr val="FFFFFF"/>
                </a:solidFill>
                <a:effectLst/>
                <a:uLnTx/>
                <a:uFillTx/>
                <a:ea typeface="Segoe UI" pitchFamily="34" charset="0"/>
                <a:cs typeface="Segoe UI"/>
              </a:endParaRPr>
            </a:p>
          </p:txBody>
        </p:sp>
        <p:sp>
          <p:nvSpPr>
            <p:cNvPr id="196" name="Oval 195">
              <a:extLst>
                <a:ext uri="{FF2B5EF4-FFF2-40B4-BE49-F238E27FC236}">
                  <a16:creationId xmlns:a16="http://schemas.microsoft.com/office/drawing/2014/main" id="{F5F870EB-3C8E-4F6F-BEA4-D43FF814C79A}"/>
                </a:ext>
                <a:ext uri="{C183D7F6-B498-43B3-948B-1728B52AA6E4}">
                  <adec:decorative xmlns:adec="http://schemas.microsoft.com/office/drawing/2017/decorative" val="1"/>
                </a:ext>
              </a:extLst>
            </p:cNvPr>
            <p:cNvSpPr/>
            <p:nvPr/>
          </p:nvSpPr>
          <p:spPr bwMode="auto">
            <a:xfrm>
              <a:off x="6115392" y="2066115"/>
              <a:ext cx="1680794" cy="1680794"/>
            </a:xfrm>
            <a:prstGeom prst="ellipse">
              <a:avLst/>
            </a:prstGeom>
            <a:solidFill>
              <a:schemeClr val="bg1"/>
            </a:solidFill>
            <a:ln w="285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grpSp>
          <p:nvGrpSpPr>
            <p:cNvPr id="197" name="Group 196">
              <a:extLst>
                <a:ext uri="{FF2B5EF4-FFF2-40B4-BE49-F238E27FC236}">
                  <a16:creationId xmlns:a16="http://schemas.microsoft.com/office/drawing/2014/main" id="{422BF275-CCDE-4909-872A-C7D4E6F3BC9A}"/>
                </a:ext>
                <a:ext uri="{C183D7F6-B498-43B3-948B-1728B52AA6E4}">
                  <adec:decorative xmlns:adec="http://schemas.microsoft.com/office/drawing/2017/decorative" val="1"/>
                </a:ext>
              </a:extLst>
            </p:cNvPr>
            <p:cNvGrpSpPr/>
            <p:nvPr/>
          </p:nvGrpSpPr>
          <p:grpSpPr>
            <a:xfrm>
              <a:off x="6228975" y="2171898"/>
              <a:ext cx="1453628" cy="1469228"/>
              <a:chOff x="8474712" y="2677645"/>
              <a:chExt cx="2475228" cy="2475228"/>
            </a:xfrm>
          </p:grpSpPr>
          <p:sp>
            <p:nvSpPr>
              <p:cNvPr id="198" name="Oval 197">
                <a:extLst>
                  <a:ext uri="{FF2B5EF4-FFF2-40B4-BE49-F238E27FC236}">
                    <a16:creationId xmlns:a16="http://schemas.microsoft.com/office/drawing/2014/main" id="{B93F0BDA-B57F-482D-9E2B-A3F7FFA5234F}"/>
                  </a:ext>
                  <a:ext uri="{C183D7F6-B498-43B3-948B-1728B52AA6E4}">
                    <adec:decorative xmlns:adec="http://schemas.microsoft.com/office/drawing/2017/decorative" val="1"/>
                  </a:ext>
                </a:extLst>
              </p:cNvPr>
              <p:cNvSpPr/>
              <p:nvPr/>
            </p:nvSpPr>
            <p:spPr bwMode="auto">
              <a:xfrm>
                <a:off x="8474712" y="2677645"/>
                <a:ext cx="2475228" cy="2475228"/>
              </a:xfrm>
              <a:prstGeom prst="ellipse">
                <a:avLst/>
              </a:prstGeom>
              <a:solidFill>
                <a:srgbClr val="EAEB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99" name="Graphic 198" descr="Accessibility Fundamentals digital badge">
                <a:extLst>
                  <a:ext uri="{FF2B5EF4-FFF2-40B4-BE49-F238E27FC236}">
                    <a16:creationId xmlns:a16="http://schemas.microsoft.com/office/drawing/2014/main" id="{66B2C359-DC68-4A67-B1B1-AFE3A978613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509484" y="2712417"/>
                <a:ext cx="2405684" cy="2405684"/>
              </a:xfrm>
              <a:prstGeom prst="rect">
                <a:avLst/>
              </a:prstGeom>
            </p:spPr>
          </p:pic>
        </p:grpSp>
      </p:grpSp>
      <p:sp>
        <p:nvSpPr>
          <p:cNvPr id="207" name="Trapezoid 97">
            <a:extLst>
              <a:ext uri="{FF2B5EF4-FFF2-40B4-BE49-F238E27FC236}">
                <a16:creationId xmlns:a16="http://schemas.microsoft.com/office/drawing/2014/main" id="{AA1A9BC2-F28D-41F3-9FFC-8211CF402FC4}"/>
              </a:ext>
              <a:ext uri="{C183D7F6-B498-43B3-948B-1728B52AA6E4}">
                <adec:decorative xmlns:adec="http://schemas.microsoft.com/office/drawing/2017/decorative" val="1"/>
              </a:ext>
            </a:extLst>
          </p:cNvPr>
          <p:cNvSpPr/>
          <p:nvPr/>
        </p:nvSpPr>
        <p:spPr bwMode="auto">
          <a:xfrm rot="5400000">
            <a:off x="5055131" y="3969492"/>
            <a:ext cx="1766222" cy="1809037"/>
          </a:xfrm>
          <a:prstGeom prst="parallelogram">
            <a:avLst>
              <a:gd name="adj" fmla="val 19688"/>
            </a:avLst>
          </a:prstGeom>
          <a:solidFill>
            <a:schemeClr val="bg1">
              <a:lumMod val="95000"/>
            </a:schemeClr>
          </a:solidFill>
          <a:ln w="6350">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14" name="Rectangle 213">
            <a:extLst>
              <a:ext uri="{FF2B5EF4-FFF2-40B4-BE49-F238E27FC236}">
                <a16:creationId xmlns:a16="http://schemas.microsoft.com/office/drawing/2014/main" id="{122BB071-50E1-41ED-BB27-D91F53B38238}"/>
              </a:ext>
            </a:extLst>
          </p:cNvPr>
          <p:cNvSpPr/>
          <p:nvPr/>
        </p:nvSpPr>
        <p:spPr bwMode="auto">
          <a:xfrm>
            <a:off x="7976917" y="3907528"/>
            <a:ext cx="1143070" cy="307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defTabSz="932472" fontAlgn="base">
              <a:spcBef>
                <a:spcPts val="600"/>
              </a:spcBef>
              <a:spcAft>
                <a:spcPct val="0"/>
              </a:spcAft>
              <a:defRPr/>
            </a:pPr>
            <a:r>
              <a:rPr lang="en-US" sz="2000" dirty="0">
                <a:solidFill>
                  <a:schemeClr val="accent2"/>
                </a:solidFill>
                <a:latin typeface="+mj-lt"/>
                <a:cs typeface="Segoe UI"/>
              </a:rPr>
              <a:t>Educators</a:t>
            </a:r>
          </a:p>
        </p:txBody>
      </p:sp>
      <p:grpSp>
        <p:nvGrpSpPr>
          <p:cNvPr id="220" name="Group 219" descr="Microsoft Educator Community&#10;">
            <a:extLst>
              <a:ext uri="{FF2B5EF4-FFF2-40B4-BE49-F238E27FC236}">
                <a16:creationId xmlns:a16="http://schemas.microsoft.com/office/drawing/2014/main" id="{047F3833-C03D-43DE-BEF8-7363E326F3BA}"/>
              </a:ext>
            </a:extLst>
          </p:cNvPr>
          <p:cNvGrpSpPr/>
          <p:nvPr/>
        </p:nvGrpSpPr>
        <p:grpSpPr>
          <a:xfrm>
            <a:off x="6115392" y="4243257"/>
            <a:ext cx="5490822" cy="1680794"/>
            <a:chOff x="6115392" y="4243257"/>
            <a:chExt cx="5490822" cy="1680794"/>
          </a:xfrm>
        </p:grpSpPr>
        <p:sp>
          <p:nvSpPr>
            <p:cNvPr id="221" name="Rectangle 220">
              <a:extLst>
                <a:ext uri="{FF2B5EF4-FFF2-40B4-BE49-F238E27FC236}">
                  <a16:creationId xmlns:a16="http://schemas.microsoft.com/office/drawing/2014/main" id="{47EF609D-7C35-42F8-9A16-A2B2F15B6338}"/>
                </a:ext>
              </a:extLst>
            </p:cNvPr>
            <p:cNvSpPr/>
            <p:nvPr/>
          </p:nvSpPr>
          <p:spPr bwMode="auto">
            <a:xfrm>
              <a:off x="7058026" y="4260694"/>
              <a:ext cx="4548188" cy="164592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mj-lt"/>
                  <a:ea typeface="Segoe UI" pitchFamily="34" charset="0"/>
                  <a:cs typeface="Segoe UI"/>
                </a:rPr>
                <a:t>Microsoft Educator Community</a:t>
              </a:r>
            </a:p>
            <a:p>
              <a:pPr defTabSz="932472" fontAlgn="base">
                <a:spcAft>
                  <a:spcPct val="0"/>
                </a:spcAft>
                <a:defRPr/>
              </a:pPr>
              <a:r>
                <a:rPr lang="en-US" sz="1800" dirty="0">
                  <a:solidFill>
                    <a:srgbClr val="FFFFFF"/>
                  </a:solidFill>
                  <a:cs typeface="Segoe UI"/>
                </a:rPr>
                <a:t>Learn how to create personalized learning experiences to meet needs of diverse learners</a:t>
              </a:r>
            </a:p>
          </p:txBody>
        </p:sp>
        <p:sp>
          <p:nvSpPr>
            <p:cNvPr id="222" name="Oval 221">
              <a:extLst>
                <a:ext uri="{FF2B5EF4-FFF2-40B4-BE49-F238E27FC236}">
                  <a16:creationId xmlns:a16="http://schemas.microsoft.com/office/drawing/2014/main" id="{79D7F119-7A31-451E-869F-7DCFCD0359FB}"/>
                </a:ext>
                <a:ext uri="{C183D7F6-B498-43B3-948B-1728B52AA6E4}">
                  <adec:decorative xmlns:adec="http://schemas.microsoft.com/office/drawing/2017/decorative" val="1"/>
                </a:ext>
              </a:extLst>
            </p:cNvPr>
            <p:cNvSpPr/>
            <p:nvPr/>
          </p:nvSpPr>
          <p:spPr bwMode="auto">
            <a:xfrm>
              <a:off x="6115392" y="4243257"/>
              <a:ext cx="1680794" cy="1680794"/>
            </a:xfrm>
            <a:prstGeom prst="ellipse">
              <a:avLst/>
            </a:prstGeom>
            <a:solidFill>
              <a:schemeClr val="bg1"/>
            </a:solidFill>
            <a:ln w="285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pic>
          <p:nvPicPr>
            <p:cNvPr id="223" name="Picture 2" descr="Accessibility Tools">
              <a:extLst>
                <a:ext uri="{FF2B5EF4-FFF2-40B4-BE49-F238E27FC236}">
                  <a16:creationId xmlns:a16="http://schemas.microsoft.com/office/drawing/2014/main" id="{7F2F1B54-DCE4-4AA6-95C5-47BA38DDB21F}"/>
                </a:ext>
              </a:extLst>
            </p:cNvPr>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6400607" y="4528472"/>
              <a:ext cx="1110364" cy="1110364"/>
            </a:xfrm>
            <a:prstGeom prst="rect">
              <a:avLst/>
            </a:prstGeom>
            <a:extLst>
              <a:ext uri="{909E8E84-426E-40DD-AFC4-6F175D3DCCD1}">
                <a14:hiddenFill xmlns:a14="http://schemas.microsoft.com/office/drawing/2010/main">
                  <a:solidFill>
                    <a:srgbClr val="FFFFFF"/>
                  </a:solidFill>
                </a14:hiddenFill>
              </a:ext>
            </a:extLst>
          </p:spPr>
        </p:pic>
      </p:grpSp>
      <p:sp>
        <p:nvSpPr>
          <p:cNvPr id="224" name="Rectangle 223">
            <a:extLst>
              <a:ext uri="{FF2B5EF4-FFF2-40B4-BE49-F238E27FC236}">
                <a16:creationId xmlns:a16="http://schemas.microsoft.com/office/drawing/2014/main" id="{C0D86F10-FC37-490D-8E6C-FC7AD8DC9399}"/>
              </a:ext>
            </a:extLst>
          </p:cNvPr>
          <p:cNvSpPr/>
          <p:nvPr/>
        </p:nvSpPr>
        <p:spPr>
          <a:xfrm>
            <a:off x="7090798" y="6382503"/>
            <a:ext cx="4979312" cy="407804"/>
          </a:xfrm>
          <a:prstGeom prst="rect">
            <a:avLst/>
          </a:prstGeom>
        </p:spPr>
        <p:txBody>
          <a:bodyPr wrap="none" lIns="0" tIns="0" rIns="0" bIns="0" anchor="t">
            <a:spAutoFit/>
          </a:bodyPr>
          <a:lstStyle/>
          <a:p>
            <a:pPr marL="0" marR="0" lvl="0" indent="0" algn="l" defTabSz="914367" rtl="0" eaLnBrk="1" fontAlgn="auto" latinLnBrk="0" hangingPunct="1">
              <a:lnSpc>
                <a:spcPct val="100000"/>
              </a:lnSpc>
              <a:spcBef>
                <a:spcPts val="300"/>
              </a:spcBef>
              <a:spcAft>
                <a:spcPts val="0"/>
              </a:spcAft>
              <a:buClrTx/>
              <a:buSzTx/>
              <a:buFontTx/>
              <a:buNone/>
              <a:tabLst/>
              <a:defRPr/>
            </a:pPr>
            <a:r>
              <a:rPr kumimoji="0" lang="en-US" sz="1200" b="0" i="0" u="none" strike="noStrike" kern="1200" cap="none" spc="0" normalizeH="0" baseline="0" noProof="0" dirty="0">
                <a:ln>
                  <a:noFill/>
                </a:ln>
                <a:solidFill>
                  <a:schemeClr val="accent1"/>
                </a:solidFill>
                <a:effectLst/>
                <a:uLnTx/>
                <a:uFillTx/>
                <a:ea typeface="+mn-lt"/>
                <a:cs typeface="Segoe UI"/>
                <a:hlinkClick r:id="rId7" tooltip="Accessibility fundamentals">
                  <a:extLst>
                    <a:ext uri="{A12FA001-AC4F-418D-AE19-62706E023703}">
                      <ahyp:hlinkClr xmlns:ahyp="http://schemas.microsoft.com/office/drawing/2018/hyperlinkcolor" val="tx"/>
                    </a:ext>
                  </a:extLst>
                </a:hlinkClick>
              </a:rPr>
              <a:t>https://docs.microsoft.com/en-us/learn/paths/accessibility-fundamentals/</a:t>
            </a:r>
            <a:endParaRPr lang="en-US" sz="1200" b="0" i="0" u="none" strike="noStrike" kern="1200" cap="none" spc="0" normalizeH="0" baseline="0" noProof="0">
              <a:ln>
                <a:noFill/>
              </a:ln>
              <a:solidFill>
                <a:schemeClr val="accent1"/>
              </a:solidFill>
              <a:effectLst/>
              <a:uLnTx/>
              <a:uFillTx/>
              <a:ea typeface="+mn-lt"/>
              <a:cs typeface="Segoe UI"/>
            </a:endParaRPr>
          </a:p>
          <a:p>
            <a:pPr marL="0" marR="0" lvl="0" indent="0" algn="l" defTabSz="914367" rtl="0" eaLnBrk="1" fontAlgn="auto" latinLnBrk="0" hangingPunct="1">
              <a:lnSpc>
                <a:spcPct val="100000"/>
              </a:lnSpc>
              <a:spcBef>
                <a:spcPts val="300"/>
              </a:spcBef>
              <a:spcAft>
                <a:spcPts val="0"/>
              </a:spcAft>
              <a:buClrTx/>
              <a:buSzTx/>
              <a:buFontTx/>
              <a:buNone/>
              <a:tabLst/>
              <a:defRPr/>
            </a:pPr>
            <a:r>
              <a:rPr lang="en-US" sz="1200" dirty="0">
                <a:solidFill>
                  <a:schemeClr val="accent1"/>
                </a:solidFill>
                <a:hlinkClick r:id="rId8" tooltip="Accessibility tools: Meeting the needs of diverse learners">
                  <a:extLst>
                    <a:ext uri="{A12FA001-AC4F-418D-AE19-62706E023703}">
                      <ahyp:hlinkClr xmlns:ahyp="http://schemas.microsoft.com/office/drawing/2018/hyperlinkcolor" val="tx"/>
                    </a:ext>
                  </a:extLst>
                </a:hlinkClick>
              </a:rPr>
              <a:t>https://education.microsoft.com/en-us/course/a41ac17d/overview</a:t>
            </a:r>
            <a:endParaRPr kumimoji="0" lang="en-US" sz="1200" b="0" i="0" u="none" strike="noStrike" kern="1200" cap="none" spc="0" normalizeH="0" baseline="0" noProof="0" dirty="0">
              <a:ln>
                <a:noFill/>
              </a:ln>
              <a:solidFill>
                <a:schemeClr val="accent1"/>
              </a:solidFill>
              <a:effectLst/>
              <a:uLnTx/>
              <a:uFillTx/>
              <a:ea typeface="+mn-lt"/>
              <a:cs typeface="Segoe UI"/>
            </a:endParaRPr>
          </a:p>
        </p:txBody>
      </p:sp>
    </p:spTree>
    <p:custDataLst>
      <p:tags r:id="rId1"/>
    </p:custDataLst>
    <p:extLst>
      <p:ext uri="{BB962C8B-B14F-4D97-AF65-F5344CB8AC3E}">
        <p14:creationId xmlns:p14="http://schemas.microsoft.com/office/powerpoint/2010/main" val="3859328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26E040-475E-4B2E-96D9-CF3028EDB7D1}"/>
              </a:ext>
            </a:extLst>
          </p:cNvPr>
          <p:cNvSpPr>
            <a:spLocks noGrp="1"/>
          </p:cNvSpPr>
          <p:nvPr>
            <p:ph type="title"/>
          </p:nvPr>
        </p:nvSpPr>
        <p:spPr>
          <a:xfrm>
            <a:off x="804673" y="1315617"/>
            <a:ext cx="4524973" cy="5374432"/>
          </a:xfrm>
          <a:prstGeom prst="ellipse">
            <a:avLst/>
          </a:prstGeom>
        </p:spPr>
        <p:txBody>
          <a:bodyPr vert="horz" lIns="91440" tIns="45720" rIns="91440" bIns="45720" rtlCol="0" anchor="t">
            <a:normAutofit fontScale="90000"/>
          </a:bodyPr>
          <a:lstStyle/>
          <a:p>
            <a:r>
              <a:rPr lang="en-US" sz="2800" dirty="0"/>
              <a:t>“Sometimes, a journey begins by reaching out and taking someone's hand.</a:t>
            </a:r>
            <a:br>
              <a:rPr lang="en-US" sz="2800" dirty="0"/>
            </a:br>
            <a:br>
              <a:rPr lang="en-US" sz="2800" dirty="0"/>
            </a:br>
            <a:r>
              <a:rPr lang="en-US" sz="2800" dirty="0"/>
              <a:t>At other times, it begins by inviting another to take yours.” </a:t>
            </a:r>
          </a:p>
        </p:txBody>
      </p:sp>
      <p:sp>
        <p:nvSpPr>
          <p:cNvPr id="73" name="Freeform: Shape 37">
            <a:extLst>
              <a:ext uri="{FF2B5EF4-FFF2-40B4-BE49-F238E27FC236}">
                <a16:creationId xmlns:a16="http://schemas.microsoft.com/office/drawing/2014/main" id="{BCC55ACC-A2F6-403C-A3A4-D59B3734D45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857312" y="381000"/>
            <a:ext cx="6334689" cy="6477000"/>
          </a:xfrm>
          <a:custGeom>
            <a:avLst/>
            <a:gdLst>
              <a:gd name="connsiteX0" fmla="*/ 3561588 w 6334689"/>
              <a:gd name="connsiteY0" fmla="*/ 0 h 6477000"/>
              <a:gd name="connsiteX1" fmla="*/ 6309883 w 6334689"/>
              <a:gd name="connsiteY1" fmla="*/ 1296087 h 6477000"/>
              <a:gd name="connsiteX2" fmla="*/ 6334689 w 6334689"/>
              <a:gd name="connsiteY2" fmla="*/ 1329261 h 6477000"/>
              <a:gd name="connsiteX3" fmla="*/ 6334689 w 6334689"/>
              <a:gd name="connsiteY3" fmla="*/ 5793916 h 6477000"/>
              <a:gd name="connsiteX4" fmla="*/ 6309883 w 6334689"/>
              <a:gd name="connsiteY4" fmla="*/ 5827089 h 6477000"/>
              <a:gd name="connsiteX5" fmla="*/ 5760467 w 6334689"/>
              <a:gd name="connsiteY5" fmla="*/ 6363539 h 6477000"/>
              <a:gd name="connsiteX6" fmla="*/ 5607796 w 6334689"/>
              <a:gd name="connsiteY6" fmla="*/ 6477000 h 6477000"/>
              <a:gd name="connsiteX7" fmla="*/ 1519571 w 6334689"/>
              <a:gd name="connsiteY7" fmla="*/ 6477000 h 6477000"/>
              <a:gd name="connsiteX8" fmla="*/ 1296088 w 6334689"/>
              <a:gd name="connsiteY8" fmla="*/ 6309883 h 6477000"/>
              <a:gd name="connsiteX9" fmla="*/ 0 w 6334689"/>
              <a:gd name="connsiteY9" fmla="*/ 3561588 h 6477000"/>
              <a:gd name="connsiteX10" fmla="*/ 3561588 w 6334689"/>
              <a:gd name="connsiteY10" fmla="*/ 0 h 647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34689" h="6477000">
                <a:moveTo>
                  <a:pt x="3561588" y="0"/>
                </a:moveTo>
                <a:cubicBezTo>
                  <a:pt x="4668032" y="0"/>
                  <a:pt x="5656635" y="504534"/>
                  <a:pt x="6309883" y="1296087"/>
                </a:cubicBezTo>
                <a:lnTo>
                  <a:pt x="6334689" y="1329261"/>
                </a:lnTo>
                <a:lnTo>
                  <a:pt x="6334689" y="5793916"/>
                </a:lnTo>
                <a:lnTo>
                  <a:pt x="6309883" y="5827089"/>
                </a:lnTo>
                <a:cubicBezTo>
                  <a:pt x="6146571" y="6024977"/>
                  <a:pt x="5962299" y="6204927"/>
                  <a:pt x="5760467" y="6363539"/>
                </a:cubicBezTo>
                <a:lnTo>
                  <a:pt x="5607796" y="6477000"/>
                </a:lnTo>
                <a:lnTo>
                  <a:pt x="1519571" y="6477000"/>
                </a:lnTo>
                <a:lnTo>
                  <a:pt x="1296088" y="6309883"/>
                </a:lnTo>
                <a:cubicBezTo>
                  <a:pt x="504535" y="5656635"/>
                  <a:pt x="0" y="4668032"/>
                  <a:pt x="0" y="3561588"/>
                </a:cubicBezTo>
                <a:cubicBezTo>
                  <a:pt x="0" y="1594577"/>
                  <a:pt x="1594577" y="0"/>
                  <a:pt x="3561588" y="0"/>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Content Placeholder 4" descr="A group of people standing in front of 10 Downing Street&#10;&#10;Description automatically generated">
            <a:extLst>
              <a:ext uri="{FF2B5EF4-FFF2-40B4-BE49-F238E27FC236}">
                <a16:creationId xmlns:a16="http://schemas.microsoft.com/office/drawing/2014/main" id="{3F6232B5-6173-4ABD-9859-24FE748B1B2D}"/>
              </a:ext>
              <a:ext uri="{C183D7F6-B498-43B3-948B-1728B52AA6E4}">
                <adec:decorative xmlns:adec="http://schemas.microsoft.com/office/drawing/2017/decorative" val="0"/>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l="13241" r="13449"/>
          <a:stretch/>
        </p:blipFill>
        <p:spPr>
          <a:xfrm>
            <a:off x="6021086" y="544777"/>
            <a:ext cx="6170914" cy="6313225"/>
          </a:xfrm>
          <a:custGeom>
            <a:avLst/>
            <a:gdLst>
              <a:gd name="connsiteX0" fmla="*/ 3397813 w 6170914"/>
              <a:gd name="connsiteY0" fmla="*/ 0 h 6313225"/>
              <a:gd name="connsiteX1" fmla="*/ 6019731 w 6170914"/>
              <a:gd name="connsiteY1" fmla="*/ 1236489 h 6313225"/>
              <a:gd name="connsiteX2" fmla="*/ 6170914 w 6170914"/>
              <a:gd name="connsiteY2" fmla="*/ 1438663 h 6313225"/>
              <a:gd name="connsiteX3" fmla="*/ 6170914 w 6170914"/>
              <a:gd name="connsiteY3" fmla="*/ 5356963 h 6313225"/>
              <a:gd name="connsiteX4" fmla="*/ 6019731 w 6170914"/>
              <a:gd name="connsiteY4" fmla="*/ 5559138 h 6313225"/>
              <a:gd name="connsiteX5" fmla="*/ 5194591 w 6170914"/>
              <a:gd name="connsiteY5" fmla="*/ 6282226 h 6313225"/>
              <a:gd name="connsiteX6" fmla="*/ 5141791 w 6170914"/>
              <a:gd name="connsiteY6" fmla="*/ 6313225 h 6313225"/>
              <a:gd name="connsiteX7" fmla="*/ 1659199 w 6170914"/>
              <a:gd name="connsiteY7" fmla="*/ 6313225 h 6313225"/>
              <a:gd name="connsiteX8" fmla="*/ 1498064 w 6170914"/>
              <a:gd name="connsiteY8" fmla="*/ 6215333 h 6313225"/>
              <a:gd name="connsiteX9" fmla="*/ 0 w 6170914"/>
              <a:gd name="connsiteY9" fmla="*/ 3397813 h 6313225"/>
              <a:gd name="connsiteX10" fmla="*/ 3397813 w 6170914"/>
              <a:gd name="connsiteY10" fmla="*/ 0 h 6313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70914" h="6313225">
                <a:moveTo>
                  <a:pt x="3397813" y="0"/>
                </a:moveTo>
                <a:cubicBezTo>
                  <a:pt x="4453378" y="0"/>
                  <a:pt x="5396522" y="481334"/>
                  <a:pt x="6019731" y="1236489"/>
                </a:cubicBezTo>
                <a:lnTo>
                  <a:pt x="6170914" y="1438663"/>
                </a:lnTo>
                <a:lnTo>
                  <a:pt x="6170914" y="5356963"/>
                </a:lnTo>
                <a:lnTo>
                  <a:pt x="6019731" y="5559138"/>
                </a:lnTo>
                <a:cubicBezTo>
                  <a:pt x="5786028" y="5842321"/>
                  <a:pt x="5507333" y="6086998"/>
                  <a:pt x="5194591" y="6282226"/>
                </a:cubicBezTo>
                <a:lnTo>
                  <a:pt x="5141791" y="6313225"/>
                </a:lnTo>
                <a:lnTo>
                  <a:pt x="1659199" y="6313225"/>
                </a:lnTo>
                <a:lnTo>
                  <a:pt x="1498064" y="6215333"/>
                </a:lnTo>
                <a:cubicBezTo>
                  <a:pt x="594240" y="5604721"/>
                  <a:pt x="0" y="4570663"/>
                  <a:pt x="0" y="3397813"/>
                </a:cubicBezTo>
                <a:cubicBezTo>
                  <a:pt x="0" y="1521253"/>
                  <a:pt x="1521253" y="0"/>
                  <a:pt x="3397813" y="0"/>
                </a:cubicBezTo>
                <a:close/>
              </a:path>
            </a:pathLst>
          </a:custGeom>
        </p:spPr>
      </p:pic>
      <p:pic>
        <p:nvPicPr>
          <p:cNvPr id="8" name="Picture 7" descr="Microsoft Logo">
            <a:extLst>
              <a:ext uri="{FF2B5EF4-FFF2-40B4-BE49-F238E27FC236}">
                <a16:creationId xmlns:a16="http://schemas.microsoft.com/office/drawing/2014/main" id="{ED0133EF-D998-43B2-BCF1-CB5C777471D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302761" y="291529"/>
            <a:ext cx="2092874" cy="448387"/>
          </a:xfrm>
          <a:prstGeom prst="rect">
            <a:avLst/>
          </a:prstGeom>
        </p:spPr>
      </p:pic>
      <p:pic>
        <p:nvPicPr>
          <p:cNvPr id="7" name="Picture 6" descr="We have just been recognized as a Disability Confident Leader... in FY20 we need to continue displaying this and be a role model">
            <a:extLst>
              <a:ext uri="{FF2B5EF4-FFF2-40B4-BE49-F238E27FC236}">
                <a16:creationId xmlns:a16="http://schemas.microsoft.com/office/drawing/2014/main" id="{618DC4CE-4A1D-42F7-A238-071672433821}"/>
              </a:ext>
            </a:extLst>
          </p:cNvPr>
          <p:cNvPicPr>
            <a:picLocks noChangeAspect="1"/>
          </p:cNvPicPr>
          <p:nvPr/>
        </p:nvPicPr>
        <p:blipFill>
          <a:blip r:embed="rId4"/>
          <a:stretch>
            <a:fillRect/>
          </a:stretch>
        </p:blipFill>
        <p:spPr>
          <a:xfrm>
            <a:off x="302761" y="5579674"/>
            <a:ext cx="1988834" cy="986797"/>
          </a:xfrm>
          <a:prstGeom prst="rect">
            <a:avLst/>
          </a:prstGeom>
        </p:spPr>
      </p:pic>
      <p:pic>
        <p:nvPicPr>
          <p:cNvPr id="9" name="Picture 8" descr="Microsoft is a Disability-Smart Award Winner!">
            <a:extLst>
              <a:ext uri="{FF2B5EF4-FFF2-40B4-BE49-F238E27FC236}">
                <a16:creationId xmlns:a16="http://schemas.microsoft.com/office/drawing/2014/main" id="{B89A7658-4C18-47ED-A4DD-415F8C18B984}"/>
              </a:ext>
            </a:extLst>
          </p:cNvPr>
          <p:cNvPicPr>
            <a:picLocks noChangeAspect="1"/>
          </p:cNvPicPr>
          <p:nvPr/>
        </p:nvPicPr>
        <p:blipFill>
          <a:blip r:embed="rId5"/>
          <a:stretch>
            <a:fillRect/>
          </a:stretch>
        </p:blipFill>
        <p:spPr>
          <a:xfrm>
            <a:off x="3604454" y="5421016"/>
            <a:ext cx="1144800" cy="1144800"/>
          </a:xfrm>
          <a:prstGeom prst="rect">
            <a:avLst/>
          </a:prstGeom>
        </p:spPr>
      </p:pic>
      <p:pic>
        <p:nvPicPr>
          <p:cNvPr id="6" name="Picture 5" descr="Microsoft is a Disability-Smart Award Winner!">
            <a:extLst>
              <a:ext uri="{FF2B5EF4-FFF2-40B4-BE49-F238E27FC236}">
                <a16:creationId xmlns:a16="http://schemas.microsoft.com/office/drawing/2014/main" id="{E53D60B8-1614-4437-9B09-D7F073E068C0}"/>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4831141" y="5423471"/>
            <a:ext cx="1143000" cy="1143000"/>
          </a:xfrm>
          <a:prstGeom prst="rect">
            <a:avLst/>
          </a:prstGeom>
          <a:noFill/>
          <a:ln>
            <a:noFill/>
          </a:ln>
        </p:spPr>
      </p:pic>
    </p:spTree>
    <p:extLst>
      <p:ext uri="{BB962C8B-B14F-4D97-AF65-F5344CB8AC3E}">
        <p14:creationId xmlns:p14="http://schemas.microsoft.com/office/powerpoint/2010/main" val="1786828944"/>
      </p:ext>
    </p:extLst>
  </p:cSld>
  <p:clrMapOvr>
    <a:overrideClrMapping bg1="dk1" tx1="lt1" bg2="dk2" tx2="lt2" accent1="accent1" accent2="accent2" accent3="accent3" accent4="accent4" accent5="accent5" accent6="accent6" hlink="hlink" folHlink="folHlink"/>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6cupn_hsN69ZnTbEkCUK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T6cupn_hsN69ZnTbEkCUK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T6cupn_hsN69ZnTbEkCUKQ"/>
</p:tagLst>
</file>

<file path=ppt/tags/tag7.xml><?xml version="1.0" encoding="utf-8"?>
<p:tagLst xmlns:a="http://schemas.openxmlformats.org/drawingml/2006/main" xmlns:r="http://schemas.openxmlformats.org/officeDocument/2006/relationships" xmlns:p="http://schemas.openxmlformats.org/presentationml/2006/main">
  <p:tag name="__MICROSOFT_TRANSLATOR_CLM_SLIDEINFO" val="{&quot;Guid&quot;:&quot;1203450c-aa77-4955-a98a-7234be47507a&quot;,&quot;TimeStamp&quot;:&quot;2018-06-11T15:40:54.6438546+01:00&quot;}"/>
</p:tagLst>
</file>

<file path=ppt/tags/tag8.xml><?xml version="1.0" encoding="utf-8"?>
<p:tagLst xmlns:a="http://schemas.openxmlformats.org/drawingml/2006/main" xmlns:r="http://schemas.openxmlformats.org/officeDocument/2006/relationships" xmlns:p="http://schemas.openxmlformats.org/presentationml/2006/main">
  <p:tag name="__MICROSOFT_TRANSLATOR_CLM_SLIDEINFO" val="{&quot;Guid&quot;:&quot;96c66c23-ee24-47a9-9464-adda3dc41e65&quot;,&quot;TimeStamp&quot;:&quot;2018-10-30T23:05:25.565673-07:00&quot;}"/>
</p:tagLst>
</file>

<file path=ppt/tags/tag9.xml><?xml version="1.0" encoding="utf-8"?>
<p:tagLst xmlns:a="http://schemas.openxmlformats.org/drawingml/2006/main" xmlns:r="http://schemas.openxmlformats.org/officeDocument/2006/relationships" xmlns:p="http://schemas.openxmlformats.org/presentationml/2006/main">
  <p:tag name="__MICROSOFT_TRANSLATOR_CLM_SLIDEINFO" val="{&quot;Guid&quot;:&quot;5f993b5e-78ca-465e-952b-75438208df47&quot;,&quot;TimeStamp&quot;:&quot;2018-09-20T15:38:45.7711024-07:00&quot;}"/>
</p:tagLst>
</file>

<file path=ppt/theme/theme1.xml><?xml version="1.0" encoding="utf-8"?>
<a:theme xmlns:a="http://schemas.openxmlformats.org/drawingml/2006/main" name="5_WHITE TEMPLAT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potx" id="{50925BB5-04CA-4699-B9ED-78C1A99A0155}" vid="{D62B1C77-5DA5-45D9-A355-F51A8F93A3A1}"/>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Blue">
  <a:themeElements>
    <a:clrScheme name="Microsoft">
      <a:dk1>
        <a:srgbClr val="2F2F2F"/>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243A5E"/>
      </a:hlink>
      <a:folHlink>
        <a:srgbClr val="954F72"/>
      </a:folHlink>
    </a:clrScheme>
    <a:fontScheme name="Segoe">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1.potx" id="{71083E08-DC26-4C69-B95F-E6DE531BB553}" vid="{0995B531-B0EF-4F51-BB6D-A0E83584022B}"/>
    </a:ext>
  </a:extLst>
</a:theme>
</file>

<file path=ppt/theme/theme5.xml><?xml version="1.0" encoding="utf-8"?>
<a:theme xmlns:a="http://schemas.openxmlformats.org/drawingml/2006/main" name="1_Blue">
  <a:themeElements>
    <a:clrScheme name="Microsoft">
      <a:dk1>
        <a:srgbClr val="50505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Sego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LIGHT GRAY TEMPLATE">
  <a:themeElements>
    <a:clrScheme name="Custom 3">
      <a:dk1>
        <a:srgbClr val="1A1A1A"/>
      </a:dk1>
      <a:lt1>
        <a:srgbClr val="FFFFFF"/>
      </a:lt1>
      <a:dk2>
        <a:srgbClr val="0D0D0D"/>
      </a:dk2>
      <a:lt2>
        <a:srgbClr val="E6E6E6"/>
      </a:lt2>
      <a:accent1>
        <a:srgbClr val="0078D4"/>
      </a:accent1>
      <a:accent2>
        <a:srgbClr val="243A5E"/>
      </a:accent2>
      <a:accent3>
        <a:srgbClr val="50E6FF"/>
      </a:accent3>
      <a:accent4>
        <a:srgbClr val="515251"/>
      </a:accent4>
      <a:accent5>
        <a:srgbClr val="737373"/>
      </a:accent5>
      <a:accent6>
        <a:srgbClr val="D2D2D2"/>
      </a:accent6>
      <a:hlink>
        <a:srgbClr val="0076D3"/>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rosft365_PowerPoint_template_Feb2020_BC" id="{8B530116-1539-874A-951A-1C404D843E07}" vid="{E4596DA4-6C73-3D44-BAD3-1699CE9C9022}"/>
    </a:ext>
  </a:extLst>
</a:theme>
</file>

<file path=ppt/theme/theme7.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8.xml><?xml version="1.0" encoding="utf-8"?>
<a:theme xmlns:a="http://schemas.openxmlformats.org/drawingml/2006/main" name="1_White Template">
  <a:themeElements>
    <a:clrScheme name="Kate">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1.potx" id="{71083E08-DC26-4C69-B95F-E6DE531BB553}" vid="{0995B531-B0EF-4F51-BB6D-A0E83584022B}"/>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72f988bf-86f1-41af-91ab-2d7cd011db47}" enabled="0" method="" siteId="{72f988bf-86f1-41af-91ab-2d7cd011db47}" removed="1"/>
</clbl:labelList>
</file>

<file path=docProps/app.xml><?xml version="1.0" encoding="utf-8"?>
<Properties xmlns="http://schemas.openxmlformats.org/officeDocument/2006/extended-properties" xmlns:vt="http://schemas.openxmlformats.org/officeDocument/2006/docPropsVTypes">
  <TotalTime>749</TotalTime>
  <Words>1478</Words>
  <Application>Microsoft Office PowerPoint</Application>
  <PresentationFormat>Widescreen</PresentationFormat>
  <Paragraphs>143</Paragraphs>
  <Slides>9</Slides>
  <Notes>7</Notes>
  <HiddenSlides>0</HiddenSlides>
  <MMClips>0</MMClips>
  <ScaleCrop>false</ScaleCrop>
  <HeadingPairs>
    <vt:vector size="8" baseType="variant">
      <vt:variant>
        <vt:lpstr>Fonts Used</vt:lpstr>
      </vt:variant>
      <vt:variant>
        <vt:i4>11</vt:i4>
      </vt:variant>
      <vt:variant>
        <vt:lpstr>Theme</vt:lpstr>
      </vt:variant>
      <vt:variant>
        <vt:i4>8</vt:i4>
      </vt:variant>
      <vt:variant>
        <vt:lpstr>Embedded OLE Servers</vt:lpstr>
      </vt:variant>
      <vt:variant>
        <vt:i4>1</vt:i4>
      </vt:variant>
      <vt:variant>
        <vt:lpstr>Slide Titles</vt:lpstr>
      </vt:variant>
      <vt:variant>
        <vt:i4>9</vt:i4>
      </vt:variant>
    </vt:vector>
  </HeadingPairs>
  <TitlesOfParts>
    <vt:vector size="29" baseType="lpstr">
      <vt:lpstr>Arial</vt:lpstr>
      <vt:lpstr>Arial,Sans-Serif</vt:lpstr>
      <vt:lpstr>Calibri</vt:lpstr>
      <vt:lpstr>Calibri Light</vt:lpstr>
      <vt:lpstr>Century Gothic</vt:lpstr>
      <vt:lpstr>Consolas</vt:lpstr>
      <vt:lpstr>Segoe UI</vt:lpstr>
      <vt:lpstr>Segoe UI Light</vt:lpstr>
      <vt:lpstr>Segoe UI Semibold</vt:lpstr>
      <vt:lpstr>Segoe UI Semilight</vt:lpstr>
      <vt:lpstr>Wingdings</vt:lpstr>
      <vt:lpstr>5_WHITE TEMPLATE</vt:lpstr>
      <vt:lpstr>1_Office Theme</vt:lpstr>
      <vt:lpstr>Blue</vt:lpstr>
      <vt:lpstr>White Template</vt:lpstr>
      <vt:lpstr>1_Blue</vt:lpstr>
      <vt:lpstr>LIGHT GRAY TEMPLATE</vt:lpstr>
      <vt:lpstr>5-50203_Microsoft_Ignite_Template</vt:lpstr>
      <vt:lpstr>1_White Template</vt:lpstr>
      <vt:lpstr>think-cell Slide</vt:lpstr>
      <vt:lpstr>Creating Accessible Documents using Accessibility Checker</vt:lpstr>
      <vt:lpstr>Accessibility is a responsibility </vt:lpstr>
      <vt:lpstr>If you don’t design for accessibility</vt:lpstr>
      <vt:lpstr>Enabling your accessibility journey</vt:lpstr>
      <vt:lpstr>Investments</vt:lpstr>
      <vt:lpstr>Accessibility Checker</vt:lpstr>
      <vt:lpstr>Demo!!!</vt:lpstr>
      <vt:lpstr>Creating excitement building accessible experiences</vt:lpstr>
      <vt:lpstr>“Sometimes, a journey begins by reaching out and taking someone's hand.  At other times, it begins by inviting another to take your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ing Our Accessibility Tools to Enhance Digital Inclusion in Remote Working Michael Vermeersch</dc:title>
  <dc:creator>Michael Vermeersch</dc:creator>
  <cp:lastModifiedBy>Michael Vermeersch</cp:lastModifiedBy>
  <cp:revision>1</cp:revision>
  <dcterms:created xsi:type="dcterms:W3CDTF">2020-11-11T19:11:59Z</dcterms:created>
  <dcterms:modified xsi:type="dcterms:W3CDTF">2021-05-25T15:13:24Z</dcterms:modified>
</cp:coreProperties>
</file>